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7" r:id="rId4"/>
  </p:sldMasterIdLst>
  <p:notesMasterIdLst>
    <p:notesMasterId r:id="rId24"/>
  </p:notesMasterIdLst>
  <p:handoutMasterIdLst>
    <p:handoutMasterId r:id="rId25"/>
  </p:handoutMasterIdLst>
  <p:sldIdLst>
    <p:sldId id="327" r:id="rId5"/>
    <p:sldId id="2145706888" r:id="rId6"/>
    <p:sldId id="2145706900" r:id="rId7"/>
    <p:sldId id="2145706901" r:id="rId8"/>
    <p:sldId id="2145706885" r:id="rId9"/>
    <p:sldId id="2145706903" r:id="rId10"/>
    <p:sldId id="2145706890" r:id="rId11"/>
    <p:sldId id="2145706893" r:id="rId12"/>
    <p:sldId id="2145706891" r:id="rId13"/>
    <p:sldId id="3560" r:id="rId14"/>
    <p:sldId id="2145706904" r:id="rId15"/>
    <p:sldId id="2145706898" r:id="rId16"/>
    <p:sldId id="2145706897" r:id="rId17"/>
    <p:sldId id="2145706892" r:id="rId18"/>
    <p:sldId id="2145706894" r:id="rId19"/>
    <p:sldId id="3564" r:id="rId20"/>
    <p:sldId id="3565" r:id="rId21"/>
    <p:sldId id="2145706883" r:id="rId22"/>
    <p:sldId id="2145706905" r:id="rId23"/>
  </p:sldIdLst>
  <p:sldSz cx="9144000" cy="5143500" type="screen16x9"/>
  <p:notesSz cx="6797675" cy="992505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4224">
          <p15:clr>
            <a:srgbClr val="A4A3A4"/>
          </p15:clr>
        </p15:guide>
        <p15:guide id="21" orient="horz" pos="713" userDrawn="1">
          <p15:clr>
            <a:srgbClr val="A4A3A4"/>
          </p15:clr>
        </p15:guide>
        <p15:guide id="28" pos="5738" userDrawn="1">
          <p15:clr>
            <a:srgbClr val="A4A3A4"/>
          </p15:clr>
        </p15:guide>
        <p15:guide id="29" orient="horz" pos="22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5" userDrawn="1">
          <p15:clr>
            <a:srgbClr val="A4A3A4"/>
          </p15:clr>
        </p15:guide>
        <p15:guide id="2" pos="2094" userDrawn="1">
          <p15:clr>
            <a:srgbClr val="A4A3A4"/>
          </p15:clr>
        </p15:guide>
        <p15:guide id="3" orient="horz" pos="3126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9" name="Ishveen Chopra" initials="IC [2]" lastIdx="4" clrIdx="28">
    <p:extLst>
      <p:ext uri="{19B8F6BF-5375-455C-9EA6-DF929625EA0E}">
        <p15:presenceInfo xmlns:p15="http://schemas.microsoft.com/office/powerpoint/2012/main" userId="Ishveen Chopra" providerId="None"/>
      </p:ext>
    </p:extLst>
  </p:cmAuthor>
  <p:cmAuthor id="1" name="David Thorpe" initials="DT" lastIdx="48" clrIdx="0">
    <p:extLst>
      <p:ext uri="{19B8F6BF-5375-455C-9EA6-DF929625EA0E}">
        <p15:presenceInfo xmlns:p15="http://schemas.microsoft.com/office/powerpoint/2012/main" userId="S-1-5-21-1901866898-1842235720-617630493-12369" providerId="AD"/>
      </p:ext>
    </p:extLst>
  </p:cmAuthor>
  <p:cmAuthor id="2" name="Emma McConnell" initials="EM" lastIdx="35" clrIdx="1">
    <p:extLst>
      <p:ext uri="{19B8F6BF-5375-455C-9EA6-DF929625EA0E}">
        <p15:presenceInfo xmlns:p15="http://schemas.microsoft.com/office/powerpoint/2012/main" userId="Emma McConnell" providerId="None"/>
      </p:ext>
    </p:extLst>
  </p:cmAuthor>
  <p:cmAuthor id="3" name="Connie Kim" initials="CK" lastIdx="97" clrIdx="2">
    <p:extLst>
      <p:ext uri="{19B8F6BF-5375-455C-9EA6-DF929625EA0E}">
        <p15:presenceInfo xmlns:p15="http://schemas.microsoft.com/office/powerpoint/2012/main" userId="S::connie.kim@gilead.com::00ad5e01-6dab-4eb1-b4fa-f378476de1f1" providerId="AD"/>
      </p:ext>
    </p:extLst>
  </p:cmAuthor>
  <p:cmAuthor id="4" name="Harout Tossonian" initials="HT" lastIdx="14" clrIdx="3">
    <p:extLst>
      <p:ext uri="{19B8F6BF-5375-455C-9EA6-DF929625EA0E}">
        <p15:presenceInfo xmlns:p15="http://schemas.microsoft.com/office/powerpoint/2012/main" userId="S::harout.tossonian@gilead.com::1d49685f-8038-4003-9e39-a7912d2b3af0" providerId="AD"/>
      </p:ext>
    </p:extLst>
  </p:cmAuthor>
  <p:cmAuthor id="5" name="Almudena Torres Cornejo" initials="AC" lastIdx="1" clrIdx="4">
    <p:extLst>
      <p:ext uri="{19B8F6BF-5375-455C-9EA6-DF929625EA0E}">
        <p15:presenceInfo xmlns:p15="http://schemas.microsoft.com/office/powerpoint/2012/main" userId="S::almudena.torrescornejo@gilead.com::14654cdc-edec-4bc5-8db5-64fd55bd2b50" providerId="AD"/>
      </p:ext>
    </p:extLst>
  </p:cmAuthor>
  <p:cmAuthor id="6" name="Hal Martin" initials="HM" lastIdx="2" clrIdx="5">
    <p:extLst>
      <p:ext uri="{19B8F6BF-5375-455C-9EA6-DF929625EA0E}">
        <p15:presenceInfo xmlns:p15="http://schemas.microsoft.com/office/powerpoint/2012/main" userId="S::hal.martin@gilead.com::cfe03137-f242-47ec-b43a-e17c42111893" providerId="AD"/>
      </p:ext>
    </p:extLst>
  </p:cmAuthor>
  <p:cmAuthor id="7" name="Fernando Bognar" initials="FB" lastIdx="9" clrIdx="6">
    <p:extLst>
      <p:ext uri="{19B8F6BF-5375-455C-9EA6-DF929625EA0E}">
        <p15:presenceInfo xmlns:p15="http://schemas.microsoft.com/office/powerpoint/2012/main" userId="S::fernando.bognar@gilead.com::2fa254ef-bff3-4547-bb8c-bbc45b07a3ec" providerId="AD"/>
      </p:ext>
    </p:extLst>
  </p:cmAuthor>
  <p:cmAuthor id="8" name="Peter Borg" initials="PB" lastIdx="12" clrIdx="7">
    <p:extLst>
      <p:ext uri="{19B8F6BF-5375-455C-9EA6-DF929625EA0E}">
        <p15:presenceInfo xmlns:p15="http://schemas.microsoft.com/office/powerpoint/2012/main" userId="S::Peter.Borg@gilead.com::21f0d358-b564-4dbd-8aaf-259c5a4ecc40" providerId="AD"/>
      </p:ext>
    </p:extLst>
  </p:cmAuthor>
  <p:cmAuthor id="9" name="Joel Gallant" initials="JG" lastIdx="10" clrIdx="8">
    <p:extLst>
      <p:ext uri="{19B8F6BF-5375-455C-9EA6-DF929625EA0E}">
        <p15:presenceInfo xmlns:p15="http://schemas.microsoft.com/office/powerpoint/2012/main" userId="S::joel.gallant@gilead.com::7e27f87a-bc32-4b70-989b-0e37c31dfdc7" providerId="AD"/>
      </p:ext>
    </p:extLst>
  </p:cmAuthor>
  <p:cmAuthor id="10" name="David Piontkowsky" initials="DP" lastIdx="2" clrIdx="9">
    <p:extLst>
      <p:ext uri="{19B8F6BF-5375-455C-9EA6-DF929625EA0E}">
        <p15:presenceInfo xmlns:p15="http://schemas.microsoft.com/office/powerpoint/2012/main" userId="S::david.piontkowsky@gilead.com::8036066d-b6ea-4eb1-97c2-adcd3d8ee6c0" providerId="AD"/>
      </p:ext>
    </p:extLst>
  </p:cmAuthor>
  <p:cmAuthor id="11" name="Editor" initials="A" lastIdx="33" clrIdx="10">
    <p:extLst>
      <p:ext uri="{19B8F6BF-5375-455C-9EA6-DF929625EA0E}">
        <p15:presenceInfo xmlns:p15="http://schemas.microsoft.com/office/powerpoint/2012/main" userId="Editor" providerId="None"/>
      </p:ext>
    </p:extLst>
  </p:cmAuthor>
  <p:cmAuthor id="12" name="Aspire Scientific" initials="AS" lastIdx="101" clrIdx="11">
    <p:extLst>
      <p:ext uri="{19B8F6BF-5375-455C-9EA6-DF929625EA0E}">
        <p15:presenceInfo xmlns:p15="http://schemas.microsoft.com/office/powerpoint/2012/main" userId="Aspire Scientific" providerId="None"/>
      </p:ext>
    </p:extLst>
  </p:cmAuthor>
  <p:cmAuthor id="13" name="Author" initials="Author" lastIdx="30" clrIdx="12">
    <p:extLst>
      <p:ext uri="{19B8F6BF-5375-455C-9EA6-DF929625EA0E}">
        <p15:presenceInfo xmlns:p15="http://schemas.microsoft.com/office/powerpoint/2012/main" userId="Author" providerId="None"/>
      </p:ext>
    </p:extLst>
  </p:cmAuthor>
  <p:cmAuthor id="14" name="Frank Mack" initials="FM" lastIdx="7" clrIdx="13">
    <p:extLst>
      <p:ext uri="{19B8F6BF-5375-455C-9EA6-DF929625EA0E}">
        <p15:presenceInfo xmlns:p15="http://schemas.microsoft.com/office/powerpoint/2012/main" userId="S::Frank.Mack@gilead.com::748d2e6b-6012-43dc-aa30-c954b43f0f6f" providerId="AD"/>
      </p:ext>
    </p:extLst>
  </p:cmAuthor>
  <p:cmAuthor id="15" name="David Thorpe" initials="DT [2]" lastIdx="42" clrIdx="14">
    <p:extLst>
      <p:ext uri="{19B8F6BF-5375-455C-9EA6-DF929625EA0E}">
        <p15:presenceInfo xmlns:p15="http://schemas.microsoft.com/office/powerpoint/2012/main" userId="S::David.Thorpe@gilead.com::0ea01918-afd9-4b81-9ef3-85ffb13bf0db" providerId="AD"/>
      </p:ext>
    </p:extLst>
  </p:cmAuthor>
  <p:cmAuthor id="16" name="Medical writer" initials="3" lastIdx="2" clrIdx="15"/>
  <p:cmAuthor id="17" name="Tim Ibbotson" initials="TI" lastIdx="17" clrIdx="16">
    <p:extLst>
      <p:ext uri="{19B8F6BF-5375-455C-9EA6-DF929625EA0E}">
        <p15:presenceInfo xmlns:p15="http://schemas.microsoft.com/office/powerpoint/2012/main" userId="Tim Ibbotson" providerId="None"/>
      </p:ext>
    </p:extLst>
  </p:cmAuthor>
  <p:cmAuthor id="18" name="Heather Davies" initials="HD" lastIdx="5" clrIdx="17">
    <p:extLst>
      <p:ext uri="{19B8F6BF-5375-455C-9EA6-DF929625EA0E}">
        <p15:presenceInfo xmlns:p15="http://schemas.microsoft.com/office/powerpoint/2012/main" userId="Heather Davies" providerId="None"/>
      </p:ext>
    </p:extLst>
  </p:cmAuthor>
  <p:cmAuthor id="19" name="Rachel Mason" initials="RM" lastIdx="40" clrIdx="18">
    <p:extLst>
      <p:ext uri="{19B8F6BF-5375-455C-9EA6-DF929625EA0E}">
        <p15:presenceInfo xmlns:p15="http://schemas.microsoft.com/office/powerpoint/2012/main" userId="Rachel Mason" providerId="None"/>
      </p:ext>
    </p:extLst>
  </p:cmAuthor>
  <p:cmAuthor id="20" name="Sandra Schreiber" initials="SS" lastIdx="1" clrIdx="19">
    <p:extLst>
      <p:ext uri="{19B8F6BF-5375-455C-9EA6-DF929625EA0E}">
        <p15:presenceInfo xmlns:p15="http://schemas.microsoft.com/office/powerpoint/2012/main" userId="S::sandra.schreiber@gilead.com::914c9f5f-1142-46c4-bdce-ce595500ce04" providerId="AD"/>
      </p:ext>
    </p:extLst>
  </p:cmAuthor>
  <p:cmAuthor id="21" name="Medical Writer" initials="MW" lastIdx="6" clrIdx="20">
    <p:extLst>
      <p:ext uri="{19B8F6BF-5375-455C-9EA6-DF929625EA0E}">
        <p15:presenceInfo xmlns:p15="http://schemas.microsoft.com/office/powerpoint/2012/main" userId="Medical Writer" providerId="None"/>
      </p:ext>
    </p:extLst>
  </p:cmAuthor>
  <p:cmAuthor id="22" name="Andrea Marongiu" initials="AM" lastIdx="1" clrIdx="21">
    <p:extLst>
      <p:ext uri="{19B8F6BF-5375-455C-9EA6-DF929625EA0E}">
        <p15:presenceInfo xmlns:p15="http://schemas.microsoft.com/office/powerpoint/2012/main" userId="S::andrea.marongiu@gilead.com::28cada63-b0d0-4e50-9241-ed64eb9d49f0" providerId="AD"/>
      </p:ext>
    </p:extLst>
  </p:cmAuthor>
  <p:cmAuthor id="23" name="Marvin Rock" initials="MR" lastIdx="13" clrIdx="22">
    <p:extLst>
      <p:ext uri="{19B8F6BF-5375-455C-9EA6-DF929625EA0E}">
        <p15:presenceInfo xmlns:p15="http://schemas.microsoft.com/office/powerpoint/2012/main" userId="S::marvin.rock@gilead.com::8c0d43c3-a1a3-44b0-a68b-38eefe3301e6" providerId="AD"/>
      </p:ext>
    </p:extLst>
  </p:cmAuthor>
  <p:cmAuthor id="24" name="Ishveen Chopra" initials="IC" lastIdx="56" clrIdx="23">
    <p:extLst>
      <p:ext uri="{19B8F6BF-5375-455C-9EA6-DF929625EA0E}">
        <p15:presenceInfo xmlns:p15="http://schemas.microsoft.com/office/powerpoint/2012/main" userId="S::ichopra@statinmed.com::cf8394ba-85f6-49c5-8a19-27c6ed569380" providerId="AD"/>
      </p:ext>
    </p:extLst>
  </p:cmAuthor>
  <p:cmAuthor id="25" name="Vasantha Pedarla" initials="VP" lastIdx="41" clrIdx="24">
    <p:extLst>
      <p:ext uri="{19B8F6BF-5375-455C-9EA6-DF929625EA0E}">
        <p15:presenceInfo xmlns:p15="http://schemas.microsoft.com/office/powerpoint/2012/main" userId="S::vpedarla@statinmed.com::98fa43c4-9d54-4f85-acf3-c5852b6e0625" providerId="AD"/>
      </p:ext>
    </p:extLst>
  </p:cmAuthor>
  <p:cmAuthor id="26" name="Joshua Cohen" initials="JC" lastIdx="3" clrIdx="25">
    <p:extLst>
      <p:ext uri="{19B8F6BF-5375-455C-9EA6-DF929625EA0E}">
        <p15:presenceInfo xmlns:p15="http://schemas.microsoft.com/office/powerpoint/2012/main" userId="c882463cdac95e8a" providerId="Windows Live"/>
      </p:ext>
    </p:extLst>
  </p:cmAuthor>
  <p:cmAuthor id="27" name="Darya Rose" initials="DR" lastIdx="12" clrIdx="26">
    <p:extLst>
      <p:ext uri="{19B8F6BF-5375-455C-9EA6-DF929625EA0E}">
        <p15:presenceInfo xmlns:p15="http://schemas.microsoft.com/office/powerpoint/2012/main" userId="S::darya.rose@gilead.com::b8e5a7a6-54d1-4f69-b357-962482c60641" providerId="AD"/>
      </p:ext>
    </p:extLst>
  </p:cmAuthor>
  <p:cmAuthor id="28" name="Dylan Mezzio" initials="DM" lastIdx="21" clrIdx="27">
    <p:extLst>
      <p:ext uri="{19B8F6BF-5375-455C-9EA6-DF929625EA0E}">
        <p15:presenceInfo xmlns:p15="http://schemas.microsoft.com/office/powerpoint/2012/main" userId="S::dylan.mezzio@gilead.com::473cb0c5-1f10-4bca-b367-289ad0dd22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FE1"/>
    <a:srgbClr val="CCFFCC"/>
    <a:srgbClr val="CCECFF"/>
    <a:srgbClr val="0A2AC8"/>
    <a:srgbClr val="400AC8"/>
    <a:srgbClr val="990000"/>
    <a:srgbClr val="717074"/>
    <a:srgbClr val="9C9C9C"/>
    <a:srgbClr val="CC0000"/>
    <a:srgbClr val="171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391B20-B2CE-4712-9861-DBDF9B096C28}" v="31" dt="2021-10-13T20:45:35.764"/>
  </p1510:revLst>
</p1510:revInfo>
</file>

<file path=ppt/tableStyles.xml><?xml version="1.0" encoding="utf-8"?>
<a:tblStyleLst xmlns:a="http://schemas.openxmlformats.org/drawingml/2006/main" def="{8EC20E35-A176-4012-BC5E-935CFFF8708E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09" autoAdjust="0"/>
    <p:restoredTop sz="93080" autoAdjust="0"/>
  </p:normalViewPr>
  <p:slideViewPr>
    <p:cSldViewPr snapToGrid="0">
      <p:cViewPr varScale="1">
        <p:scale>
          <a:sx n="77" d="100"/>
          <a:sy n="77" d="100"/>
        </p:scale>
        <p:origin x="1080" y="56"/>
      </p:cViewPr>
      <p:guideLst>
        <p:guide orient="horz" pos="4224"/>
        <p:guide orient="horz" pos="713"/>
        <p:guide pos="5738"/>
        <p:guide orient="horz" pos="22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184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75"/>
        <p:guide pos="2094"/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119050967962147E-2"/>
          <c:y val="7.5180363761062532E-2"/>
          <c:w val="0.92395131834393318"/>
          <c:h val="0.39870665664279409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36325151"/>
        <c:axId val="1636321823"/>
      </c:barChart>
      <c:catAx>
        <c:axId val="16363251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low"/>
        <c:crossAx val="1636321823"/>
        <c:crosses val="autoZero"/>
        <c:auto val="1"/>
        <c:lblAlgn val="ctr"/>
        <c:lblOffset val="0"/>
        <c:noMultiLvlLbl val="0"/>
      </c:catAx>
      <c:valAx>
        <c:axId val="1636321823"/>
        <c:scaling>
          <c:orientation val="minMax"/>
          <c:max val="100"/>
        </c:scaling>
        <c:delete val="1"/>
        <c:axPos val="l"/>
        <c:numFmt formatCode="0" sourceLinked="0"/>
        <c:majorTickMark val="out"/>
        <c:minorTickMark val="none"/>
        <c:tickLblPos val="nextTo"/>
        <c:crossAx val="1636325151"/>
        <c:crosses val="autoZero"/>
        <c:crossBetween val="between"/>
        <c:majorUnit val="2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119050967962147E-2"/>
          <c:y val="7.5180363761062532E-2"/>
          <c:w val="0.92395131834393318"/>
          <c:h val="0.39870665664279409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636325151"/>
        <c:axId val="1636321823"/>
      </c:barChart>
      <c:catAx>
        <c:axId val="163632515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low"/>
        <c:crossAx val="1636321823"/>
        <c:crosses val="autoZero"/>
        <c:auto val="1"/>
        <c:lblAlgn val="ctr"/>
        <c:lblOffset val="0"/>
        <c:noMultiLvlLbl val="0"/>
      </c:catAx>
      <c:valAx>
        <c:axId val="1636321823"/>
        <c:scaling>
          <c:orientation val="minMax"/>
          <c:max val="100"/>
        </c:scaling>
        <c:delete val="1"/>
        <c:axPos val="l"/>
        <c:numFmt formatCode="0" sourceLinked="0"/>
        <c:majorTickMark val="out"/>
        <c:minorTickMark val="none"/>
        <c:tickLblPos val="nextTo"/>
        <c:crossAx val="1636325151"/>
        <c:crosses val="autoZero"/>
        <c:crossBetween val="between"/>
        <c:majorUnit val="20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10/1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10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660400"/>
            <a:ext cx="5737225" cy="3227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3179" y="4135438"/>
            <a:ext cx="5891318" cy="52933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0225" y="660400"/>
            <a:ext cx="5737225" cy="32273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730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FBC3A-A12C-40F9-BB8D-BC30C790139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318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flipH="1">
            <a:off x="0" y="3371850"/>
            <a:ext cx="9144000" cy="17716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flipH="1">
            <a:off x="1295400" y="3143250"/>
            <a:ext cx="7848600" cy="2286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flipH="1">
            <a:off x="0" y="3143250"/>
            <a:ext cx="1262063" cy="228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86770" y="1485900"/>
            <a:ext cx="6561831" cy="1428750"/>
          </a:xfrm>
        </p:spPr>
        <p:txBody>
          <a:bodyPr/>
          <a:lstStyle>
            <a:lvl1pPr>
              <a:defRPr sz="3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81114" y="3543300"/>
            <a:ext cx="6567487" cy="74295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 flipH="1">
            <a:off x="0" y="3371850"/>
            <a:ext cx="9144000" cy="17716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295400" y="3143250"/>
            <a:ext cx="7848600" cy="2286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 flipH="1">
            <a:off x="0" y="3143250"/>
            <a:ext cx="1262063" cy="228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3931920" cy="16573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09C8D-91FC-45C5-86C9-2A26271D909A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143000"/>
            <a:ext cx="3931920" cy="16573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57200" y="2971800"/>
            <a:ext cx="3931920" cy="16573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4"/>
          </p:nvPr>
        </p:nvSpPr>
        <p:spPr>
          <a:xfrm>
            <a:off x="4754880" y="2971800"/>
            <a:ext cx="3931920" cy="16573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0640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0"/>
            <a:ext cx="3931920" cy="4572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57350"/>
            <a:ext cx="3931920" cy="29718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143000"/>
            <a:ext cx="3931920" cy="4572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657350"/>
            <a:ext cx="3931920" cy="29718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AFCFA-9C97-469C-A9CB-283115696878}" type="datetime1">
              <a:rPr lang="en-US" smtClean="0"/>
              <a:t>10/14/2021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807D3B-C816-4ACE-94AA-9F10B7399CCE}" type="datetime1">
              <a:rPr lang="en-US" smtClean="0"/>
              <a:t>10/14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28700"/>
            <a:ext cx="82296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6501E1B-A171-4714-860B-B94B5997AAC5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37AC4-C3A8-4E10-B6D5-A9E2D031AF00}" type="datetime1">
              <a:rPr lang="en-US" smtClean="0"/>
              <a:t>10/1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1"/>
            <a:ext cx="5943600" cy="3486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53200" y="1143000"/>
            <a:ext cx="2133600" cy="348615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DFA1C-C75D-4A52-96E7-2EA3B1B20616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143000"/>
            <a:ext cx="5943600" cy="3489385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53200" y="1143000"/>
            <a:ext cx="2133600" cy="348615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5DD3AD-5413-4C6F-B130-2E9F9D0DF868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opic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4500"/>
            <a:ext cx="3959352" cy="291465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41CD4-9E19-48E1-BBAB-C1EA50DC3DE6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1143000"/>
            <a:ext cx="3959352" cy="5715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5"/>
          </p:nvPr>
        </p:nvSpPr>
        <p:spPr>
          <a:xfrm>
            <a:off x="4727448" y="1714500"/>
            <a:ext cx="3959352" cy="291465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27448" y="1143000"/>
            <a:ext cx="3959352" cy="5715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972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opic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4500"/>
            <a:ext cx="2606040" cy="291465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0E2D14-2EC8-445A-B2C8-222B25BCD2DC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1143000"/>
            <a:ext cx="2606040" cy="5715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5"/>
          </p:nvPr>
        </p:nvSpPr>
        <p:spPr>
          <a:xfrm>
            <a:off x="3268980" y="1714500"/>
            <a:ext cx="2606040" cy="291465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68980" y="1143000"/>
            <a:ext cx="2606040" cy="5715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7"/>
          </p:nvPr>
        </p:nvSpPr>
        <p:spPr>
          <a:xfrm>
            <a:off x="6080760" y="1714500"/>
            <a:ext cx="2606040" cy="291465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080760" y="1143000"/>
            <a:ext cx="2606040" cy="5715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4810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80CB4-532B-4D43-A0DB-EF13B600012C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9827"/>
            <a:ext cx="8229600" cy="50742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644938" y="4902994"/>
            <a:ext cx="609600" cy="126206"/>
          </a:xfrm>
        </p:spPr>
        <p:txBody>
          <a:bodyPr/>
          <a:lstStyle/>
          <a:p>
            <a:fld id="{FE928071-00C3-4462-9C9F-834819BF6FE1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57200" y="4902994"/>
            <a:ext cx="3048000" cy="123444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439150" y="4902994"/>
            <a:ext cx="247650" cy="126206"/>
          </a:xfrm>
        </p:spPr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7889137" y="0"/>
            <a:ext cx="77359" cy="4629150"/>
            <a:chOff x="7889136" y="0"/>
            <a:chExt cx="77359" cy="6172200"/>
          </a:xfrm>
        </p:grpSpPr>
        <p:sp>
          <p:nvSpPr>
            <p:cNvPr id="11" name="Rectangle 10"/>
            <p:cNvSpPr/>
            <p:nvPr/>
          </p:nvSpPr>
          <p:spPr>
            <a:xfrm rot="5400000">
              <a:off x="4835040" y="3054097"/>
              <a:ext cx="6172199" cy="64007"/>
            </a:xfrm>
            <a:prstGeom prst="rect">
              <a:avLst/>
            </a:prstGeom>
            <a:solidFill>
              <a:srgbClr val="9695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 rot="5400000">
              <a:off x="7692545" y="196597"/>
              <a:ext cx="457200" cy="64007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Connector 12"/>
            <p:cNvCxnSpPr/>
            <p:nvPr/>
          </p:nvCxnSpPr>
          <p:spPr>
            <a:xfrm rot="5400000">
              <a:off x="7927818" y="418523"/>
              <a:ext cx="0" cy="77354"/>
            </a:xfrm>
            <a:prstGeom prst="line">
              <a:avLst/>
            </a:prstGeom>
            <a:ln w="285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/>
            <p:cNvGrpSpPr/>
            <p:nvPr/>
          </p:nvGrpSpPr>
          <p:grpSpPr>
            <a:xfrm rot="5400000">
              <a:off x="7699218" y="189923"/>
              <a:ext cx="457200" cy="77354"/>
              <a:chOff x="0" y="139700"/>
              <a:chExt cx="457200" cy="77354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153047"/>
                <a:ext cx="457200" cy="64007"/>
              </a:xfrm>
              <a:prstGeom prst="rect">
                <a:avLst/>
              </a:prstGeom>
              <a:solidFill>
                <a:srgbClr val="C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6" name="Straight Connector 15"/>
              <p:cNvCxnSpPr/>
              <p:nvPr/>
            </p:nvCxnSpPr>
            <p:spPr>
              <a:xfrm>
                <a:off x="457200" y="139700"/>
                <a:ext cx="0" cy="77354"/>
              </a:xfrm>
              <a:prstGeom prst="line">
                <a:avLst/>
              </a:prstGeom>
              <a:ln w="28575">
                <a:solidFill>
                  <a:schemeClr val="bg1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001000" y="342901"/>
            <a:ext cx="685800" cy="428624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42901"/>
            <a:ext cx="7162800" cy="4286249"/>
          </a:xfrm>
        </p:spPr>
        <p:txBody>
          <a:bodyPr vert="eaVert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B4E85-30ED-4AC1-BD26-35C79431CE2B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udy Name,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7200" y="115909"/>
            <a:ext cx="8229600" cy="226991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31432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28700"/>
            <a:ext cx="82296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B5E8E55-0D25-4451-A5A4-7FE7106242D1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379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137" y="273844"/>
            <a:ext cx="8229600" cy="740264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4238" y="4806613"/>
            <a:ext cx="154944" cy="20659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3137" y="1457008"/>
            <a:ext cx="8229600" cy="3172143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 marL="11906" indent="0">
              <a:lnSpc>
                <a:spcPct val="110000"/>
              </a:lnSpc>
              <a:buNone/>
              <a:tabLst/>
              <a:defRPr sz="1350" b="0">
                <a:solidFill>
                  <a:schemeClr val="tx1"/>
                </a:solidFill>
              </a:defRPr>
            </a:lvl2pPr>
            <a:lvl3pPr marL="215504" indent="-127397">
              <a:lnSpc>
                <a:spcPct val="110000"/>
              </a:lnSpc>
              <a:tabLst/>
              <a:defRPr sz="1200"/>
            </a:lvl3pPr>
            <a:lvl4pPr marL="520304" indent="-127397">
              <a:lnSpc>
                <a:spcPct val="110000"/>
              </a:lnSpc>
              <a:tabLst/>
              <a:defRPr sz="105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8261" y="4800599"/>
            <a:ext cx="2057400" cy="21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3525253" y="4800599"/>
            <a:ext cx="2057400" cy="21861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76687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udy Name,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B06F0-E55E-40AC-9C95-B6DA2D55D6BC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15909"/>
            <a:ext cx="8229600" cy="226991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1930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3143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28700"/>
            <a:ext cx="82296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7D131A4-B8E6-4A5D-9048-ADE7F7547DFA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udy Name,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7200" y="115909"/>
            <a:ext cx="8229600" cy="226991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3143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28700"/>
            <a:ext cx="82296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FC173D4-9796-42D8-B384-409122462D21}" type="datetime1">
              <a:rPr lang="en-US" smtClean="0"/>
              <a:t>10/1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37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 flipH="1">
            <a:off x="0" y="2908180"/>
            <a:ext cx="9144000" cy="223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flipH="1">
            <a:off x="1295400" y="2851031"/>
            <a:ext cx="7848600" cy="571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flipH="1">
            <a:off x="-3" y="2851031"/>
            <a:ext cx="1262063" cy="57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6770" y="1543050"/>
            <a:ext cx="6561831" cy="1028700"/>
          </a:xfrm>
        </p:spPr>
        <p:txBody>
          <a:bodyPr anchor="b"/>
          <a:lstStyle>
            <a:lvl1pPr algn="l">
              <a:defRPr sz="3200" b="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81113" y="3079631"/>
            <a:ext cx="6567486" cy="74295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 flipH="1">
            <a:off x="0" y="2908180"/>
            <a:ext cx="9144000" cy="223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295400" y="2851031"/>
            <a:ext cx="7848600" cy="571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 flipH="1">
            <a:off x="-3" y="2851031"/>
            <a:ext cx="1262063" cy="57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with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 flipH="1">
            <a:off x="0" y="2908180"/>
            <a:ext cx="9144000" cy="223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flipH="1">
            <a:off x="1295400" y="2851031"/>
            <a:ext cx="7848600" cy="571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6770" y="1714500"/>
            <a:ext cx="6561831" cy="857250"/>
          </a:xfrm>
        </p:spPr>
        <p:txBody>
          <a:bodyPr anchor="b"/>
          <a:lstStyle>
            <a:lvl1pPr algn="l">
              <a:defRPr sz="3200" b="0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81113" y="3079631"/>
            <a:ext cx="6567486" cy="74295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295400" y="1200150"/>
            <a:ext cx="6553200" cy="51435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Rectangle 11"/>
          <p:cNvSpPr/>
          <p:nvPr/>
        </p:nvSpPr>
        <p:spPr>
          <a:xfrm flipH="1">
            <a:off x="-3" y="2851031"/>
            <a:ext cx="1262063" cy="57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 flipH="1">
            <a:off x="0" y="2908180"/>
            <a:ext cx="9144000" cy="223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 flipH="1">
            <a:off x="1295400" y="2851031"/>
            <a:ext cx="7848600" cy="571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 flipH="1">
            <a:off x="-3" y="2851031"/>
            <a:ext cx="1262063" cy="571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447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3931920" cy="3486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143000"/>
            <a:ext cx="3931920" cy="348615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C27B7-5C17-452D-B1A9-F1F57CEEC64C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3000"/>
            <a:ext cx="2606040" cy="3486150"/>
          </a:xfrm>
          <a:ln w="19050">
            <a:noFill/>
            <a:miter lim="800000"/>
          </a:ln>
        </p:spPr>
        <p:txBody>
          <a:bodyPr lIns="0" tIns="0" rIns="0" bIns="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35C12-DA02-46E8-8EE5-A0C2D826A48C}" type="datetime1">
              <a:rPr lang="en-US" smtClean="0"/>
              <a:t>10/14/2021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sz="half" idx="15"/>
          </p:nvPr>
        </p:nvSpPr>
        <p:spPr>
          <a:xfrm>
            <a:off x="3268980" y="1143000"/>
            <a:ext cx="2606040" cy="3486150"/>
          </a:xfrm>
          <a:ln w="19050">
            <a:noFill/>
            <a:miter lim="800000"/>
          </a:ln>
        </p:spPr>
        <p:txBody>
          <a:bodyPr lIns="0" tIns="0" rIns="0" bIns="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7"/>
          </p:nvPr>
        </p:nvSpPr>
        <p:spPr>
          <a:xfrm>
            <a:off x="6080760" y="1143000"/>
            <a:ext cx="2606040" cy="3486150"/>
          </a:xfrm>
          <a:ln w="19050">
            <a:noFill/>
            <a:miter lim="800000"/>
          </a:ln>
        </p:spPr>
        <p:txBody>
          <a:bodyPr lIns="0" tIns="0" rIns="0" bIns="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912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471488" y="901896"/>
            <a:ext cx="8672512" cy="4800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-1" y="901896"/>
            <a:ext cx="442913" cy="480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49827"/>
            <a:ext cx="8229600" cy="50742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0"/>
            <a:ext cx="8229600" cy="3486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2"/>
          </p:nvPr>
        </p:nvSpPr>
        <p:spPr>
          <a:xfrm>
            <a:off x="7644938" y="4937284"/>
            <a:ext cx="609600" cy="12620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C937797-36B0-49BA-8968-35E31E196FFD}" type="datetime1">
              <a:rPr lang="en-US" smtClean="0"/>
              <a:t>10/14/2021</a:t>
            </a:fld>
            <a:endParaRPr lang="en-US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919178"/>
            <a:ext cx="3048000" cy="12344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uthor’s Last Name, Conference Name, Year, Presentation #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9150" y="4937284"/>
            <a:ext cx="247650" cy="12620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4BD5F9E-BC76-487B-A2BC-019AD28A1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31" r:id="rId21"/>
    <p:sldLayoutId id="2147483768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bg2">
            <a:lumMod val="75000"/>
          </a:schemeClr>
        </a:buClr>
        <a:buSzPct val="9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bg2">
            <a:lumMod val="75000"/>
          </a:schemeClr>
        </a:buClr>
        <a:buSzPct val="9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>
            <a:lumMod val="75000"/>
          </a:schemeClr>
        </a:buClr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98" userDrawn="1">
          <p15:clr>
            <a:srgbClr val="F26B43"/>
          </p15:clr>
        </p15:guide>
        <p15:guide id="4" pos="290" userDrawn="1">
          <p15:clr>
            <a:srgbClr val="F26B43"/>
          </p15:clr>
        </p15:guide>
        <p15:guide id="5" pos="5474" userDrawn="1">
          <p15:clr>
            <a:srgbClr val="F26B43"/>
          </p15:clr>
        </p15:guide>
        <p15:guide id="7" orient="horz" pos="31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clinicalinfo.hiv.gov/sites/default/files/guidelines/documents/AdultandAdolescentGL.pdf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8342" y="1097280"/>
            <a:ext cx="7938457" cy="939338"/>
          </a:xfrm>
        </p:spPr>
        <p:txBody>
          <a:bodyPr/>
          <a:lstStyle/>
          <a:p>
            <a:pPr fontAlgn="base"/>
            <a:r>
              <a:rPr lang="en-GB" sz="2000" b="1" dirty="0"/>
              <a:t>Persistence on Guideline-Recommended HIV Treatment: Comparison Among US Medicaid Beneficiaries Newly Initiating Treatment with Single- versus Multiple-Tablet Regime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8342" y="2396540"/>
            <a:ext cx="7938457" cy="490351"/>
          </a:xfrm>
        </p:spPr>
        <p:txBody>
          <a:bodyPr/>
          <a:lstStyle/>
          <a:p>
            <a:pPr marL="7983" indent="-6273" algn="ctr">
              <a:lnSpc>
                <a:spcPct val="110000"/>
              </a:lnSpc>
              <a:spcAft>
                <a:spcPts val="593"/>
              </a:spcAft>
            </a:pP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ylan Mezzio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Joshua Gruber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Woodie Zachry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Ishveen Chopra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GB" sz="10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iao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Mu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Vasantha Pedarla,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</a:t>
            </a:r>
            <a:r>
              <a:rPr lang="en-GB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Joshua Cohen</a:t>
            </a:r>
            <a:r>
              <a:rPr lang="en-GB" sz="1000" b="0" i="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3</a:t>
            </a:r>
          </a:p>
          <a:p>
            <a:pPr marL="7983" indent="-6273" algn="ctr">
              <a:lnSpc>
                <a:spcPct val="110000"/>
              </a:lnSpc>
              <a:spcAft>
                <a:spcPts val="593"/>
              </a:spcAft>
            </a:pPr>
            <a:r>
              <a:rPr lang="en-GB" sz="1000" baseline="30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 1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Gilead Sciences, Inc., Foster City, CA, USA; </a:t>
            </a:r>
            <a:r>
              <a:rPr lang="en-GB" sz="1000" baseline="30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2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StatInMed, Plano, TX, USA; </a:t>
            </a:r>
            <a:r>
              <a:rPr lang="en-GB" sz="1000" baseline="30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3</a:t>
            </a: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+mj-lt"/>
                <a:ea typeface="Calibri" panose="020F0502020204030204" pitchFamily="34" charset="0"/>
              </a:rPr>
              <a:t>Tufts University, Boston, MA, U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138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93"/>
    </mc:Choice>
    <mc:Fallback xmlns="">
      <p:transition spd="slow" advTm="239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61891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3: Mean and Median Persistence by Treatment Regimen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429C200D-952F-4DA3-ACFA-1369C2D3E2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9102047"/>
              </p:ext>
            </p:extLst>
          </p:nvPr>
        </p:nvGraphicFramePr>
        <p:xfrm>
          <a:off x="-114300" y="973149"/>
          <a:ext cx="8929688" cy="3101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endParaRPr lang="en-GB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latin typeface="Arial" panose="020B0604020202020204" pitchFamily="34" charset="0"/>
                <a:cs typeface="Arial" panose="020B0604020202020204" pitchFamily="34" charset="0"/>
              </a:rPr>
              <a:t>‡</a:t>
            </a:r>
            <a:endParaRPr lang="en-GB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§</a:t>
            </a:r>
            <a:endParaRPr lang="en-GB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F87D337-01A6-4E87-9652-2E5863E3DD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947016"/>
              </p:ext>
            </p:extLst>
          </p:nvPr>
        </p:nvGraphicFramePr>
        <p:xfrm>
          <a:off x="482139" y="1131888"/>
          <a:ext cx="8088284" cy="2800032"/>
        </p:xfrm>
        <a:graphic>
          <a:graphicData uri="http://schemas.openxmlformats.org/drawingml/2006/table">
            <a:tbl>
              <a:tblPr/>
              <a:tblGrid>
                <a:gridCol w="1857930">
                  <a:extLst>
                    <a:ext uri="{9D8B030D-6E8A-4147-A177-3AD203B41FA5}">
                      <a16:colId xmlns:a16="http://schemas.microsoft.com/office/drawing/2014/main" val="2330454533"/>
                    </a:ext>
                  </a:extLst>
                </a:gridCol>
                <a:gridCol w="553273">
                  <a:extLst>
                    <a:ext uri="{9D8B030D-6E8A-4147-A177-3AD203B41FA5}">
                      <a16:colId xmlns:a16="http://schemas.microsoft.com/office/drawing/2014/main" val="1265736305"/>
                    </a:ext>
                  </a:extLst>
                </a:gridCol>
                <a:gridCol w="1021318">
                  <a:extLst>
                    <a:ext uri="{9D8B030D-6E8A-4147-A177-3AD203B41FA5}">
                      <a16:colId xmlns:a16="http://schemas.microsoft.com/office/drawing/2014/main" val="45027769"/>
                    </a:ext>
                  </a:extLst>
                </a:gridCol>
                <a:gridCol w="930821">
                  <a:extLst>
                    <a:ext uri="{9D8B030D-6E8A-4147-A177-3AD203B41FA5}">
                      <a16:colId xmlns:a16="http://schemas.microsoft.com/office/drawing/2014/main" val="3931498032"/>
                    </a:ext>
                  </a:extLst>
                </a:gridCol>
                <a:gridCol w="1797003">
                  <a:extLst>
                    <a:ext uri="{9D8B030D-6E8A-4147-A177-3AD203B41FA5}">
                      <a16:colId xmlns:a16="http://schemas.microsoft.com/office/drawing/2014/main" val="1441291537"/>
                    </a:ext>
                  </a:extLst>
                </a:gridCol>
                <a:gridCol w="1927939">
                  <a:extLst>
                    <a:ext uri="{9D8B030D-6E8A-4147-A177-3AD203B41FA5}">
                      <a16:colId xmlns:a16="http://schemas.microsoft.com/office/drawing/2014/main" val="2206800407"/>
                    </a:ext>
                  </a:extLst>
                </a:gridCol>
              </a:tblGrid>
              <a:tr h="331242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Regimen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ean**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edian**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Patients with 6-month persistence (n, 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Patients with 12-month persistence (n, 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315287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R Overal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,7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898337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/F/TA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,0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267301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TG/ABC/3T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,3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4378070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VG/COBI/FTC/TA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,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188457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VG/COBI/FTC/TD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820490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PV/FTC/TA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69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512333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PV/FTC/TD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573938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FV/FTC/TD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053264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t"/>
                      <a:r>
                        <a:rPr lang="pt-BR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RV/c/r/FTC/TA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403563"/>
                  </a:ext>
                </a:extLst>
              </a:tr>
              <a:tr h="18064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TR Overal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,97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990141"/>
                  </a:ext>
                </a:extLst>
              </a:tr>
              <a:tr h="16559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TC/TDF+DT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717715"/>
                  </a:ext>
                </a:extLst>
              </a:tr>
              <a:tr h="16559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TC/TAF+DT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4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196793"/>
                  </a:ext>
                </a:extLst>
              </a:tr>
              <a:tr h="16559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TC/TDF+R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69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4231261"/>
                  </a:ext>
                </a:extLst>
              </a:tr>
              <a:tr h="165590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TC/TAF+R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220465"/>
                  </a:ext>
                </a:extLst>
              </a:tr>
            </a:tbl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2CC5074-CA89-4801-9DA9-DA9389207BAF}"/>
              </a:ext>
            </a:extLst>
          </p:cNvPr>
          <p:cNvSpPr txBox="1">
            <a:spLocks/>
          </p:cNvSpPr>
          <p:nvPr/>
        </p:nvSpPr>
        <p:spPr>
          <a:xfrm>
            <a:off x="469669" y="3856631"/>
            <a:ext cx="8204662" cy="6432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C: Abacavir, B: </a:t>
            </a:r>
            <a:r>
              <a:rPr lang="en-GB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ctegravir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BI: Cobicistat, </a:t>
            </a:r>
            <a:r>
              <a:rPr lang="en-GB" sz="700" dirty="0">
                <a:solidFill>
                  <a:schemeClr val="tx1"/>
                </a:solidFill>
              </a:rPr>
              <a:t> 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V: Darunavir, DTG: Dolutegravir, EFV: Efavirenz, EVG: Elvitegravir, F: Emtricitabine, FTC: Emtricitabine, RAL: </a:t>
            </a:r>
            <a:r>
              <a:rPr lang="en-GB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ltegravir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PV: </a:t>
            </a:r>
            <a:r>
              <a:rPr lang="en-GB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lpivirine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AF: Tenofovir alafenamide fumarate, TDF: Tenofovir disoproxil fumarate, 3TC: Lamivudine</a:t>
            </a: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Mean and median number of days persistent assessed during 12 months follow-up</a:t>
            </a: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Regimens only with sample size &gt;=500 were assessed for persistence outcomes</a:t>
            </a:r>
          </a:p>
        </p:txBody>
      </p:sp>
    </p:spTree>
    <p:extLst>
      <p:ext uri="{BB962C8B-B14F-4D97-AF65-F5344CB8AC3E}">
        <p14:creationId xmlns:p14="http://schemas.microsoft.com/office/powerpoint/2010/main" val="426594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288F2-2B01-41C1-B7EA-9D9E8B86C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0585"/>
            <a:ext cx="8229600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Results: </a:t>
            </a:r>
            <a:r>
              <a:rPr lang="en-US" sz="2800" b="1" i="1" dirty="0">
                <a:solidFill>
                  <a:schemeClr val="accent1"/>
                </a:solidFill>
                <a:latin typeface="Trebuchet MS" panose="020B0703020202090204" pitchFamily="34" charset="0"/>
              </a:rPr>
              <a:t>Persistent Outco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28254-C2A6-4B1B-82DD-11B823F9E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24BD05-C304-4919-A73B-A47E07C1BB6A}"/>
              </a:ext>
            </a:extLst>
          </p:cNvPr>
          <p:cNvSpPr txBox="1">
            <a:spLocks/>
          </p:cNvSpPr>
          <p:nvPr/>
        </p:nvSpPr>
        <p:spPr>
          <a:xfrm>
            <a:off x="4994477" y="1144800"/>
            <a:ext cx="3961176" cy="3486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endParaRPr lang="en-GB" sz="105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C31724-07F7-44D5-9E1B-65C516E4C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3486150"/>
          </a:xfrm>
        </p:spPr>
        <p:txBody>
          <a:bodyPr/>
          <a:lstStyle/>
          <a:p>
            <a:pPr marL="45720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sz="1800" kern="1000" dirty="0"/>
              <a:t>Kaplan-Meier analyses demonstrated that patients on STRs had more days on therapy than those on MTRs, that is, were more persistent.</a:t>
            </a:r>
          </a:p>
          <a:p>
            <a:pPr marL="685800" lvl="2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1000" dirty="0"/>
              <a:t>STR had more days on therapy than those on MTR (Figure 2)</a:t>
            </a:r>
          </a:p>
          <a:p>
            <a:pPr marL="685800" lvl="2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1000" dirty="0"/>
              <a:t>Patients on B/F/TAF had more days on therapy than those on DTG/ABC/3TC, FTC/TDF+DTG, and FTC/TAF+DTG (Figure 3)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US" kern="1000" dirty="0"/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US" kern="10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316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Figure 2: Persistence STR vs MT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AA55485A-2C4F-43CA-AC3D-1CB8AF6BB0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15" y="1152723"/>
            <a:ext cx="6765221" cy="364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5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Figure 3: Treatment Persistence Among Regime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0D4CD86-22ED-44A9-8F04-3551BEC38BA7}"/>
              </a:ext>
            </a:extLst>
          </p:cNvPr>
          <p:cNvSpPr txBox="1">
            <a:spLocks/>
          </p:cNvSpPr>
          <p:nvPr/>
        </p:nvSpPr>
        <p:spPr>
          <a:xfrm>
            <a:off x="952704" y="4687142"/>
            <a:ext cx="5943396" cy="2130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700" dirty="0">
                <a:solidFill>
                  <a:schemeClr val="tx1"/>
                </a:solidFill>
              </a:rPr>
              <a:t>ABC: Abacavir, B: </a:t>
            </a:r>
            <a:r>
              <a:rPr lang="en-GB" sz="700" dirty="0" err="1">
                <a:solidFill>
                  <a:schemeClr val="tx1"/>
                </a:solidFill>
              </a:rPr>
              <a:t>Bictegravir</a:t>
            </a:r>
            <a:r>
              <a:rPr lang="en-GB" sz="700" dirty="0">
                <a:solidFill>
                  <a:schemeClr val="tx1"/>
                </a:solidFill>
              </a:rPr>
              <a:t>, 3TC: Lamivudine, DHHS: </a:t>
            </a:r>
            <a:r>
              <a:rPr lang="en-US" sz="700" dirty="0">
                <a:solidFill>
                  <a:schemeClr val="tx1"/>
                </a:solidFill>
              </a:rPr>
              <a:t>Department of Health and Human Services, </a:t>
            </a:r>
            <a:r>
              <a:rPr lang="en-GB" sz="700" dirty="0">
                <a:solidFill>
                  <a:schemeClr val="tx1"/>
                </a:solidFill>
              </a:rPr>
              <a:t>DTG: Dolutegravir, F: Emtricitabine, FTC: Emtricitabine, MTR: multiple-tablet regimen, STR: single-tablet regimen, TAF: Tenofovir alafenamide fumarate, TDF: Tenofovir disoproxil fumarate, </a:t>
            </a: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endParaRPr lang="en-GB" sz="700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FB544B2-0D0A-47F5-8225-1005F7B3A0BD}"/>
              </a:ext>
            </a:extLst>
          </p:cNvPr>
          <p:cNvGrpSpPr/>
          <p:nvPr/>
        </p:nvGrpSpPr>
        <p:grpSpPr>
          <a:xfrm>
            <a:off x="952704" y="1180407"/>
            <a:ext cx="6071551" cy="3233651"/>
            <a:chOff x="9551660" y="1320800"/>
            <a:chExt cx="2130752" cy="168447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B4EDA6F-5865-4195-893E-52B4EACE2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51660" y="1320800"/>
              <a:ext cx="2130752" cy="1684476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4FD0C9F-6FAC-42A4-BB0D-DDCD12BEE860}"/>
                </a:ext>
              </a:extLst>
            </p:cNvPr>
            <p:cNvSpPr txBox="1"/>
            <p:nvPr/>
          </p:nvSpPr>
          <p:spPr>
            <a:xfrm>
              <a:off x="9992909" y="1323975"/>
              <a:ext cx="1341702" cy="865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b="1" dirty="0">
                  <a:latin typeface="Arial Narrow" panose="020B0606020202030204" pitchFamily="34" charset="0"/>
                </a:rPr>
                <a:t>DHHS Recommended Initial Regimens for Most People with HIV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02136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288F2-2B01-41C1-B7EA-9D9E8B86C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Results: </a:t>
            </a:r>
            <a:r>
              <a:rPr lang="en-US" sz="2800" b="1" i="1" dirty="0">
                <a:solidFill>
                  <a:schemeClr val="accent1"/>
                </a:solidFill>
                <a:latin typeface="Trebuchet MS" panose="020B0703020202090204" pitchFamily="34" charset="0"/>
              </a:rPr>
              <a:t>Persistence  Outco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28254-C2A6-4B1B-82DD-11B823F9E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24BD05-C304-4919-A73B-A47E07C1BB6A}"/>
              </a:ext>
            </a:extLst>
          </p:cNvPr>
          <p:cNvSpPr txBox="1">
            <a:spLocks/>
          </p:cNvSpPr>
          <p:nvPr/>
        </p:nvSpPr>
        <p:spPr>
          <a:xfrm>
            <a:off x="4994477" y="1144800"/>
            <a:ext cx="3961176" cy="3486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endParaRPr lang="en-GB" sz="105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C31724-07F7-44D5-9E1B-65C516E4C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488" y="1053452"/>
            <a:ext cx="8452312" cy="3577498"/>
          </a:xfrm>
        </p:spPr>
        <p:txBody>
          <a:bodyPr/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After controlling for baseline characteristics, Figure 4 shows the adjusted results:</a:t>
            </a:r>
          </a:p>
          <a:p>
            <a:pPr marL="457200" lvl="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MTRs were associated with 1.71 greater risk of treatment discontinuation compared to STRs (p&lt;0.001)</a:t>
            </a:r>
          </a:p>
          <a:p>
            <a:pPr marL="457200" lvl="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When compared to B/F/TAF, the risks of treatment discontinuation based on hazard ratios were:</a:t>
            </a:r>
          </a:p>
          <a:p>
            <a:pPr marL="73152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1.25 times higher for DTG/ABC/3TC (p&lt;0.001)</a:t>
            </a:r>
          </a:p>
          <a:p>
            <a:pPr marL="73152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3.75 times higher for FTC/TDF+DTG (p&lt;0.001)</a:t>
            </a:r>
          </a:p>
          <a:p>
            <a:pPr marL="73152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1.57 times higher for FTC/TAF+DTG (p&lt;0.001)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09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166255"/>
            <a:ext cx="8204662" cy="690995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4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Figure 4: Adjusted Hazard Ratio for Treatment Discontinuation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5DE399-0194-44D2-BE47-0116E2F1D6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600" y="1080530"/>
            <a:ext cx="7932051" cy="332822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B7BC5B5-ECF7-472E-93E1-EDF018E129B8}"/>
              </a:ext>
            </a:extLst>
          </p:cNvPr>
          <p:cNvSpPr txBox="1">
            <a:spLocks/>
          </p:cNvSpPr>
          <p:nvPr/>
        </p:nvSpPr>
        <p:spPr>
          <a:xfrm>
            <a:off x="704313" y="4793890"/>
            <a:ext cx="6596600" cy="2924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500" dirty="0">
                <a:solidFill>
                  <a:schemeClr val="tx1"/>
                </a:solidFill>
              </a:rPr>
              <a:t>ABC: Abacavir, B: </a:t>
            </a:r>
            <a:r>
              <a:rPr lang="en-GB" sz="500" dirty="0" err="1">
                <a:solidFill>
                  <a:schemeClr val="tx1"/>
                </a:solidFill>
              </a:rPr>
              <a:t>Bictegravir</a:t>
            </a:r>
            <a:r>
              <a:rPr lang="en-GB" sz="500" dirty="0">
                <a:solidFill>
                  <a:schemeClr val="tx1"/>
                </a:solidFill>
              </a:rPr>
              <a:t>, 3TC: Lamivudine, DTG: Dolutegravir, F: Emtricitabine, FTC: Emtricitabine, MTR: multiple-tablet regimen, STR: single-tablet regimen, TAF: Tenofovir alafenamide fumarate, TDF: Tenofovir disoproxil fumarate</a:t>
            </a:r>
          </a:p>
        </p:txBody>
      </p:sp>
    </p:spTree>
    <p:extLst>
      <p:ext uri="{BB962C8B-B14F-4D97-AF65-F5344CB8AC3E}">
        <p14:creationId xmlns:p14="http://schemas.microsoft.com/office/powerpoint/2010/main" val="4537201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Limit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3B4987-BEBE-4B07-981C-FB49558F00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dirty="0"/>
              <a:t>This analysis focused on those covered by Medicaid insurance, and results may differ for commercial insurance populations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dirty="0"/>
              <a:t>The geographic spread of Medicaid beneficiaries in the analysis is skewed towards the South.</a:t>
            </a:r>
          </a:p>
        </p:txBody>
      </p:sp>
    </p:spTree>
    <p:extLst>
      <p:ext uri="{BB962C8B-B14F-4D97-AF65-F5344CB8AC3E}">
        <p14:creationId xmlns:p14="http://schemas.microsoft.com/office/powerpoint/2010/main" val="27505556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Conclus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0F671-C34F-4A82-B889-3FBA21917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GB" dirty="0"/>
              <a:t>Among adult US Medicaid beneficiaries living with HIV, STRs were associated with longer persistence on a first-line therapy compared to MTRs.</a:t>
            </a:r>
            <a:endParaRPr lang="en-US" dirty="0"/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dirty="0"/>
              <a:t>Among adult US Medicaid beneficiaries living with HIV, B/F/TAF had the highest persistence rate compared to DTG/ABC/3TC, FTC/TDF+DTG, and FTC/TAF+DTG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</p:spTree>
    <p:extLst>
      <p:ext uri="{BB962C8B-B14F-4D97-AF65-F5344CB8AC3E}">
        <p14:creationId xmlns:p14="http://schemas.microsoft.com/office/powerpoint/2010/main" val="3101148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Refer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0F671-C34F-4A82-B889-3FBA21917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AutoNum type="arabicPeriod"/>
            </a:pPr>
            <a:r>
              <a:rPr lang="en-US" dirty="0">
                <a:ea typeface="+mn-lt"/>
                <a:cs typeface="+mn-lt"/>
              </a:rPr>
              <a:t>DHHS Panel on Antiretroviral Guidelines for Adults and Adolescents – A Working Group of the Office of AIDS Research Advisory </a:t>
            </a:r>
            <a:r>
              <a:rPr lang="en-US" b="0" i="0" dirty="0">
                <a:effectLst/>
                <a:ea typeface="+mn-lt"/>
                <a:cs typeface="+mn-lt"/>
              </a:rPr>
              <a:t>Council</a:t>
            </a:r>
            <a:r>
              <a:rPr lang="en-US" b="0" i="0" dirty="0">
                <a:solidFill>
                  <a:srgbClr val="222222"/>
                </a:solidFill>
                <a:effectLst/>
                <a:latin typeface="Arial"/>
                <a:cs typeface="Arial"/>
              </a:rPr>
              <a:t>. Guidelines for the Use of Antiretroviral Agents in Adults and Adolescents with HIV.</a:t>
            </a:r>
            <a:r>
              <a:rPr lang="en-US" dirty="0">
                <a:solidFill>
                  <a:srgbClr val="222222"/>
                </a:solidFill>
                <a:latin typeface="Arial"/>
                <a:cs typeface="Arial"/>
              </a:rPr>
              <a:t> </a:t>
            </a:r>
            <a:r>
              <a:rPr lang="en-US" b="0" i="0" dirty="0">
                <a:solidFill>
                  <a:srgbClr val="222222"/>
                </a:solidFill>
                <a:effectLst/>
                <a:latin typeface="Arial"/>
                <a:cs typeface="Arial"/>
              </a:rPr>
              <a:t>2021</a:t>
            </a:r>
            <a:r>
              <a:rPr lang="en-US" dirty="0">
                <a:solidFill>
                  <a:srgbClr val="222222"/>
                </a:solidFill>
                <a:latin typeface="Arial"/>
                <a:cs typeface="Arial"/>
              </a:rPr>
              <a:t>. Available at: </a:t>
            </a:r>
            <a:r>
              <a:rPr lang="en-US" dirty="0">
                <a:ea typeface="+mn-lt"/>
                <a:cs typeface="+mn-lt"/>
                <a:hlinkClick r:id="rId2"/>
              </a:rPr>
              <a:t>https://clinicalinfo.hiv.gov/sites/default/files/guidelines/documents/AdultandAdolescentGL.pdf</a:t>
            </a:r>
            <a:r>
              <a:rPr lang="en-US" dirty="0">
                <a:ea typeface="+mn-lt"/>
                <a:cs typeface="+mn-lt"/>
              </a:rPr>
              <a:t> 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80702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Disclosur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B0F671-C34F-4A82-B889-3FBA21917F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en-US" dirty="0"/>
              <a:t>Ishveen Chopra, Qiao Mu, Vasantha Pedarla, of </a:t>
            </a:r>
            <a:r>
              <a:rPr lang="en-US" dirty="0" err="1"/>
              <a:t>StatInMed</a:t>
            </a:r>
            <a:r>
              <a:rPr lang="en-US" dirty="0"/>
              <a:t> Research; Joshua Gruber, Woodie Zachry, Dylan Mezzio are employees of Gilead; Joshua Cohen is an employee of Tufts University.</a:t>
            </a:r>
            <a:endParaRPr lang="en-US" sz="4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1159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821A-7B09-4451-8AD1-5AC1F3337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135532"/>
            <a:ext cx="8229600" cy="740264"/>
          </a:xfrm>
        </p:spPr>
        <p:txBody>
          <a:bodyPr/>
          <a:lstStyle/>
          <a:p>
            <a:r>
              <a:rPr lang="en-GB" sz="2800" dirty="0"/>
              <a:t>Introduction</a:t>
            </a:r>
            <a:endParaRPr lang="en-US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6AB74F-54FD-434C-BD8B-68C9971BE0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</a:pPr>
            <a:r>
              <a:rPr lang="en-US" sz="1800" kern="1000" dirty="0">
                <a:solidFill>
                  <a:schemeClr val="tx1"/>
                </a:solidFill>
              </a:rPr>
              <a:t>There is a paucity of persistence data on adult US Medicaid beneficiaries  </a:t>
            </a: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</a:rPr>
              <a:t>living with HIV that detail the </a:t>
            </a:r>
            <a:r>
              <a:rPr lang="en-US" sz="1800" kern="1000" dirty="0">
                <a:solidFill>
                  <a:schemeClr val="tx1"/>
                </a:solidFill>
              </a:rPr>
              <a:t>Department of Health &amp; Human Services (DHHS) guideline-recommended antiretroviral treatment (ART) regimens.</a:t>
            </a:r>
            <a:r>
              <a:rPr lang="en-US" sz="1800" kern="1000" baseline="30000" dirty="0">
                <a:solidFill>
                  <a:schemeClr val="tx1"/>
                </a:solidFill>
              </a:rPr>
              <a:t>1</a:t>
            </a:r>
            <a:endParaRPr lang="en-US" sz="1800" kern="10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6AD08-6581-4A4B-B8B2-39850A220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756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821A-7B09-4451-8AD1-5AC1F3337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135532"/>
            <a:ext cx="8229600" cy="740264"/>
          </a:xfrm>
        </p:spPr>
        <p:txBody>
          <a:bodyPr/>
          <a:lstStyle/>
          <a:p>
            <a:r>
              <a:rPr lang="en-GB" sz="2800" dirty="0"/>
              <a:t>Objective </a:t>
            </a:r>
            <a:endParaRPr lang="en-US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6AB74F-54FD-434C-BD8B-68C9971BE0B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</a:pPr>
            <a:r>
              <a:rPr lang="en-US" sz="1800" kern="1000" dirty="0"/>
              <a:t>The purpose of this study is to compare the persistence newer DHHS guideline-recommended single- and multiple-tablet regimens (STRs and MTRs) for treatment-naïve patient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86AD08-6581-4A4B-B8B2-39850A220B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765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288F2-2B01-41C1-B7EA-9D9E8B86C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Method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28254-C2A6-4B1B-82DD-11B823F9E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24BD05-C304-4919-A73B-A47E07C1BB6A}"/>
              </a:ext>
            </a:extLst>
          </p:cNvPr>
          <p:cNvSpPr txBox="1">
            <a:spLocks/>
          </p:cNvSpPr>
          <p:nvPr/>
        </p:nvSpPr>
        <p:spPr>
          <a:xfrm>
            <a:off x="4994477" y="1144800"/>
            <a:ext cx="3961176" cy="3486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endParaRPr lang="en-GB" sz="105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C31724-07F7-44D5-9E1B-65C516E4C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3886200"/>
          </a:xfrm>
        </p:spPr>
        <p:txBody>
          <a:bodyPr/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sz="1200" kern="1000" dirty="0"/>
              <a:t>A retrospective analysis was conducted using the All-Payer Claims Database (APCD) for persons living with HIV initiating ART between Jan 1, 2017, and Mar 31, 2020, with 12 months continuous capture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pre- and post- index date</a:t>
            </a:r>
            <a:r>
              <a:rPr lang="en-US" sz="1200" kern="1000" dirty="0"/>
              <a:t>.</a:t>
            </a:r>
          </a:p>
          <a:p>
            <a:pPr marL="914400" lvl="1" indent="-342900">
              <a:spcAft>
                <a:spcPts val="350"/>
              </a:spcAft>
              <a:buClr>
                <a:srgbClr val="A41142"/>
              </a:buClr>
              <a:buFont typeface="Arial" panose="020B0604020202020204" pitchFamily="34" charset="0"/>
              <a:buChar char="ꟷ"/>
            </a:pPr>
            <a:r>
              <a:rPr lang="en-US" sz="1100" dirty="0">
                <a:latin typeface="Arial" panose="020B0604020202020204" pitchFamily="34" charset="0"/>
              </a:rPr>
              <a:t>APCD provides insight into nearly 80% of the US health care system; 300 million unique patients across all payers.</a:t>
            </a:r>
          </a:p>
          <a:p>
            <a:pPr marL="914400" lvl="1" indent="-342900">
              <a:spcAft>
                <a:spcPts val="350"/>
              </a:spcAft>
              <a:buClr>
                <a:srgbClr val="A41142"/>
              </a:buClr>
              <a:buFont typeface="Arial" panose="020B0604020202020204" pitchFamily="34" charset="0"/>
              <a:buChar char="ꟷ"/>
            </a:pPr>
            <a:r>
              <a:rPr lang="en-US" sz="1100" dirty="0">
                <a:latin typeface="Arial" panose="020B0604020202020204" pitchFamily="34" charset="0"/>
              </a:rPr>
              <a:t>APCD is nationally representative of the US population and includes patients from all geographic regions, providing comprehensive insight into treatment patterns among the Medicaid population.</a:t>
            </a:r>
          </a:p>
          <a:p>
            <a:pPr marL="45720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sz="1200" kern="1000" dirty="0"/>
              <a:t>Index date was defined as the date of the first ART claim</a:t>
            </a:r>
            <a:endParaRPr lang="en-US" sz="1100" dirty="0">
              <a:latin typeface="Arial" panose="020B0604020202020204" pitchFamily="34" charset="0"/>
            </a:endParaRPr>
          </a:p>
          <a:p>
            <a:pPr marL="914400" lvl="1" indent="-342900">
              <a:spcAft>
                <a:spcPts val="350"/>
              </a:spcAft>
              <a:buClr>
                <a:srgbClr val="A41142"/>
              </a:buClr>
              <a:buFont typeface="Arial" panose="020B0604020202020204" pitchFamily="34" charset="0"/>
              <a:buChar char="ꟷ"/>
            </a:pPr>
            <a:r>
              <a:rPr lang="en-US" sz="1100" dirty="0">
                <a:latin typeface="Arial" panose="020B0604020202020204" pitchFamily="34" charset="0"/>
              </a:rPr>
              <a:t>For STRs, the date of the first ART claim within the period Jan 1, 2017 – March 31, 2020, was the index date</a:t>
            </a:r>
          </a:p>
          <a:p>
            <a:pPr marL="914400" lvl="1" indent="-342900">
              <a:spcAft>
                <a:spcPts val="350"/>
              </a:spcAft>
              <a:buClr>
                <a:srgbClr val="A41142"/>
              </a:buClr>
              <a:buFont typeface="Arial" panose="020B0604020202020204" pitchFamily="34" charset="0"/>
              <a:buChar char="ꟷ"/>
            </a:pPr>
            <a:r>
              <a:rPr lang="en-US" sz="1100" dirty="0">
                <a:solidFill>
                  <a:prstClr val="black"/>
                </a:solidFill>
                <a:latin typeface="Arial" panose="020B0604020202020204" pitchFamily="34" charset="0"/>
              </a:rPr>
              <a:t>For MTRs, the fill date for the last medication in the regimen was the index date (±5-day window between fills for components comprising the regimen was allowed).</a:t>
            </a:r>
          </a:p>
          <a:p>
            <a:pPr marL="45720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sz="1200" kern="1000" dirty="0"/>
              <a:t>Persistence was measured from the index date until treatment discontinuation (≥90-day gap between fills of index regimen) or the end of the study period, whichever occurred first. </a:t>
            </a:r>
          </a:p>
          <a:p>
            <a:pPr marL="914400" lvl="1" indent="-342900">
              <a:spcAft>
                <a:spcPts val="350"/>
              </a:spcAft>
              <a:buClr>
                <a:srgbClr val="A41142"/>
              </a:buClr>
              <a:buFont typeface="Arial" panose="020B0604020202020204" pitchFamily="34" charset="0"/>
              <a:buChar char="ꟷ"/>
            </a:pPr>
            <a:r>
              <a:rPr lang="en-US" sz="1100" dirty="0">
                <a:latin typeface="Arial" panose="020B0604020202020204" pitchFamily="34" charset="0"/>
              </a:rPr>
              <a:t>For MTRs, patients must remain on all therapies in the initial regimen to be counted as persistent.</a:t>
            </a:r>
            <a:endParaRPr lang="en-US" sz="1100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457200" lvl="1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1000" dirty="0"/>
              <a:t>Patient selection criteria presented in </a:t>
            </a:r>
            <a:r>
              <a:rPr lang="en-US" sz="1200" b="1" kern="1000" dirty="0"/>
              <a:t>Figure 1</a:t>
            </a:r>
            <a:r>
              <a:rPr lang="en-US" sz="1200" kern="1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523380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601" y="261841"/>
            <a:ext cx="8229600" cy="507423"/>
          </a:xfrm>
        </p:spPr>
        <p:txBody>
          <a:bodyPr vert="horz" lIns="0" tIns="0" rIns="0" bIns="0" rtlCol="0" anchor="b">
            <a:noAutofit/>
          </a:bodyPr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Figure 1: Sample Selec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2A1B64-F296-4CC5-B86A-789DAF58A6DF}"/>
              </a:ext>
            </a:extLst>
          </p:cNvPr>
          <p:cNvSpPr/>
          <p:nvPr/>
        </p:nvSpPr>
        <p:spPr>
          <a:xfrm>
            <a:off x="1443600" y="1019194"/>
            <a:ext cx="6256800" cy="2594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2 prescription claims for an ART of interest during the identification period [Jan 1, 2017 – Mar 31, 2020] (N= 111,035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3097B0-BD57-4582-BB91-3F3640F678A0}"/>
              </a:ext>
            </a:extLst>
          </p:cNvPr>
          <p:cNvSpPr/>
          <p:nvPr/>
        </p:nvSpPr>
        <p:spPr>
          <a:xfrm>
            <a:off x="1443600" y="1884307"/>
            <a:ext cx="6256800" cy="2594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months continuous capture pre- and post-index date; ≥1 pharmacy or medical claim at any point during the 12-month period </a:t>
            </a:r>
          </a:p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 97,091)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04382F-A399-448F-B97E-92FD5E35E991}"/>
              </a:ext>
            </a:extLst>
          </p:cNvPr>
          <p:cNvSpPr/>
          <p:nvPr/>
        </p:nvSpPr>
        <p:spPr>
          <a:xfrm>
            <a:off x="2906100" y="2365767"/>
            <a:ext cx="3310200" cy="2443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d ≥18 years as of the index date (N= 96,360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F17AB8-628A-4FC2-ABE9-1D63F2A67169}"/>
              </a:ext>
            </a:extLst>
          </p:cNvPr>
          <p:cNvSpPr/>
          <p:nvPr/>
        </p:nvSpPr>
        <p:spPr>
          <a:xfrm>
            <a:off x="2962564" y="4014033"/>
            <a:ext cx="3197272" cy="2585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 remaining in sample (N=44,764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1F4C6-F81C-483E-98A9-E60C7389046C}"/>
              </a:ext>
            </a:extLst>
          </p:cNvPr>
          <p:cNvSpPr/>
          <p:nvPr/>
        </p:nvSpPr>
        <p:spPr>
          <a:xfrm>
            <a:off x="5944251" y="4663964"/>
            <a:ext cx="2962800" cy="2594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 who received MTR as index </a:t>
            </a:r>
            <a:r>
              <a:rPr lang="en-US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men (N=9,977)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13B143-53FD-4A34-A6EA-695DFE2E86E4}"/>
              </a:ext>
            </a:extLst>
          </p:cNvPr>
          <p:cNvSpPr/>
          <p:nvPr/>
        </p:nvSpPr>
        <p:spPr>
          <a:xfrm>
            <a:off x="781800" y="4663964"/>
            <a:ext cx="2962800" cy="2594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 who received STR as index </a:t>
            </a:r>
            <a:r>
              <a:rPr lang="en-US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men (N=34,787) 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DC07D9D-C654-4DEE-97D2-71F70D4852FF}"/>
              </a:ext>
            </a:extLst>
          </p:cNvPr>
          <p:cNvSpPr/>
          <p:nvPr/>
        </p:nvSpPr>
        <p:spPr>
          <a:xfrm>
            <a:off x="5820665" y="2736056"/>
            <a:ext cx="2501691" cy="117055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91440" indent="-914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1 regimen at index date (N=3,296)</a:t>
            </a:r>
          </a:p>
          <a:p>
            <a:pPr marL="91440" indent="-914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use in the 12 months prior to the index date (N=47,201)</a:t>
            </a:r>
          </a:p>
          <a:p>
            <a:pPr marL="91440" indent="-914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-2 diagnosis claim during baseline period (on or 12 months prior to index date) (N=196)</a:t>
            </a:r>
          </a:p>
          <a:p>
            <a:pPr marL="91440" indent="-914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use other than index drugs on the index date (N=203)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96A046A-9B9A-498D-AEF6-CC96018EB2A1}"/>
              </a:ext>
            </a:extLst>
          </p:cNvPr>
          <p:cNvCxnSpPr>
            <a:cxnSpLocks/>
          </p:cNvCxnSpPr>
          <p:nvPr/>
        </p:nvCxnSpPr>
        <p:spPr>
          <a:xfrm>
            <a:off x="4568400" y="1701427"/>
            <a:ext cx="0" cy="18288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DD56B52F-EE59-466D-9ED3-B9AB2BF232AC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4572000" y="2143724"/>
            <a:ext cx="0" cy="21442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8D79D45E-E6ED-48B4-8C07-67DA290B85AF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4561200" y="2610161"/>
            <a:ext cx="7200" cy="1403872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6257774-FDB8-4A9B-959A-DC26BA560629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4569252" y="3308289"/>
            <a:ext cx="1251413" cy="13045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E26943BB-6DAE-4F72-B4D5-ABBFA2370EE2}"/>
              </a:ext>
            </a:extLst>
          </p:cNvPr>
          <p:cNvSpPr/>
          <p:nvPr/>
        </p:nvSpPr>
        <p:spPr>
          <a:xfrm>
            <a:off x="4687401" y="2916728"/>
            <a:ext cx="1013414" cy="25941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ded (N=51,596)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5CE25BF-BF26-4D01-A8D1-556E4EBCFDA9}"/>
              </a:ext>
            </a:extLst>
          </p:cNvPr>
          <p:cNvSpPr/>
          <p:nvPr/>
        </p:nvSpPr>
        <p:spPr>
          <a:xfrm>
            <a:off x="1440000" y="1443612"/>
            <a:ext cx="6256800" cy="23876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972C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ve at any point during the 12-month pre and post index period (N= 110,614)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BAB771F-CF7B-48D9-8FB3-EB30D016840B}"/>
              </a:ext>
            </a:extLst>
          </p:cNvPr>
          <p:cNvCxnSpPr>
            <a:cxnSpLocks/>
          </p:cNvCxnSpPr>
          <p:nvPr/>
        </p:nvCxnSpPr>
        <p:spPr>
          <a:xfrm>
            <a:off x="4572000" y="1278611"/>
            <a:ext cx="0" cy="18288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213E818-95CE-4B11-B765-01363FECD212}"/>
              </a:ext>
            </a:extLst>
          </p:cNvPr>
          <p:cNvCxnSpPr>
            <a:cxnSpLocks/>
          </p:cNvCxnSpPr>
          <p:nvPr/>
        </p:nvCxnSpPr>
        <p:spPr>
          <a:xfrm flipV="1">
            <a:off x="2263200" y="4109228"/>
            <a:ext cx="0" cy="548640"/>
          </a:xfrm>
          <a:prstGeom prst="line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1426AEB-BFC9-4A0D-9629-1268D535A1FE}"/>
              </a:ext>
            </a:extLst>
          </p:cNvPr>
          <p:cNvCxnSpPr>
            <a:cxnSpLocks/>
          </p:cNvCxnSpPr>
          <p:nvPr/>
        </p:nvCxnSpPr>
        <p:spPr>
          <a:xfrm>
            <a:off x="2263200" y="4117161"/>
            <a:ext cx="704088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1C0DF49-91C1-47DE-9D53-D76CBEC41E83}"/>
              </a:ext>
            </a:extLst>
          </p:cNvPr>
          <p:cNvCxnSpPr>
            <a:cxnSpLocks/>
          </p:cNvCxnSpPr>
          <p:nvPr/>
        </p:nvCxnSpPr>
        <p:spPr>
          <a:xfrm flipH="1">
            <a:off x="6159836" y="4117161"/>
            <a:ext cx="704088" cy="0"/>
          </a:xfrm>
          <a:prstGeom prst="straightConnector1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606E343-F33E-43C8-B807-78C2DFE53E9A}"/>
              </a:ext>
            </a:extLst>
          </p:cNvPr>
          <p:cNvCxnSpPr>
            <a:cxnSpLocks/>
          </p:cNvCxnSpPr>
          <p:nvPr/>
        </p:nvCxnSpPr>
        <p:spPr>
          <a:xfrm flipV="1">
            <a:off x="6865508" y="4109228"/>
            <a:ext cx="0" cy="548640"/>
          </a:xfrm>
          <a:prstGeom prst="line">
            <a:avLst/>
          </a:prstGeom>
          <a:ln w="19050">
            <a:solidFill>
              <a:srgbClr val="0070C0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3305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0A637D-4A6F-4D77-8514-FBFFF15034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0A637D-4A6F-4D77-8514-FBFFF1503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EE3D10-04E3-4B47-B655-BE4CBF8A84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91D7E8-63A9-489F-A629-5122D3663DC2}"/>
              </a:ext>
            </a:extLst>
          </p:cNvPr>
          <p:cNvSpPr txBox="1">
            <a:spLocks/>
          </p:cNvSpPr>
          <p:nvPr/>
        </p:nvSpPr>
        <p:spPr>
          <a:xfrm>
            <a:off x="482138" y="349827"/>
            <a:ext cx="8204662" cy="50742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000" b="1" i="0" kern="1200">
                <a:solidFill>
                  <a:schemeClr val="accent1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269"/>
              </a:spcAft>
              <a:buClr>
                <a:srgbClr val="A21C49"/>
              </a:buClr>
            </a:pPr>
            <a:r>
              <a:rPr lang="en-GB" sz="2800" dirty="0"/>
              <a:t>Table 1: Patient Distribution STRs &amp; MTR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9675A57-DB64-48DF-ACEE-6418FE3D87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664554"/>
              </p:ext>
            </p:extLst>
          </p:nvPr>
        </p:nvGraphicFramePr>
        <p:xfrm>
          <a:off x="482138" y="1085848"/>
          <a:ext cx="8204661" cy="2927819"/>
        </p:xfrm>
        <a:graphic>
          <a:graphicData uri="http://schemas.openxmlformats.org/drawingml/2006/table">
            <a:tbl>
              <a:tblPr/>
              <a:tblGrid>
                <a:gridCol w="2062368">
                  <a:extLst>
                    <a:ext uri="{9D8B030D-6E8A-4147-A177-3AD203B41FA5}">
                      <a16:colId xmlns:a16="http://schemas.microsoft.com/office/drawing/2014/main" val="2084423959"/>
                    </a:ext>
                  </a:extLst>
                </a:gridCol>
                <a:gridCol w="821947">
                  <a:extLst>
                    <a:ext uri="{9D8B030D-6E8A-4147-A177-3AD203B41FA5}">
                      <a16:colId xmlns:a16="http://schemas.microsoft.com/office/drawing/2014/main" val="1922149988"/>
                    </a:ext>
                  </a:extLst>
                </a:gridCol>
                <a:gridCol w="1449036">
                  <a:extLst>
                    <a:ext uri="{9D8B030D-6E8A-4147-A177-3AD203B41FA5}">
                      <a16:colId xmlns:a16="http://schemas.microsoft.com/office/drawing/2014/main" val="3726409501"/>
                    </a:ext>
                  </a:extLst>
                </a:gridCol>
                <a:gridCol w="1870772">
                  <a:extLst>
                    <a:ext uri="{9D8B030D-6E8A-4147-A177-3AD203B41FA5}">
                      <a16:colId xmlns:a16="http://schemas.microsoft.com/office/drawing/2014/main" val="4252007409"/>
                    </a:ext>
                  </a:extLst>
                </a:gridCol>
                <a:gridCol w="778586">
                  <a:extLst>
                    <a:ext uri="{9D8B030D-6E8A-4147-A177-3AD203B41FA5}">
                      <a16:colId xmlns:a16="http://schemas.microsoft.com/office/drawing/2014/main" val="4279544703"/>
                    </a:ext>
                  </a:extLst>
                </a:gridCol>
                <a:gridCol w="1221952">
                  <a:extLst>
                    <a:ext uri="{9D8B030D-6E8A-4147-A177-3AD203B41FA5}">
                      <a16:colId xmlns:a16="http://schemas.microsoft.com/office/drawing/2014/main" val="1481938565"/>
                    </a:ext>
                  </a:extLst>
                </a:gridCol>
              </a:tblGrid>
              <a:tr h="20466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s (N=34,787)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TRs (N=9,977)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600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758094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imen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972C9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men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600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600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60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8240591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/F/TA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52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.02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DF+DTG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22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.27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23877"/>
                  </a:ext>
                </a:extLst>
              </a:tr>
              <a:tr h="230248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TG/3TC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45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AF+DTG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87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5.00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6393992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TG/RPV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4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22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TC/TDF+DTG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922388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TG/ABC/3TC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84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.23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DF+RAL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97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.0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250009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G/COBI/FTC/TA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00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.3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AF+RAL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7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59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5955548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G/COBI/FTC/TD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69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5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DF+DRV/r,c*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3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0218813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PV/FTC/TA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99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76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AF+DRV/r,c*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7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30643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PV/FTC/TD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2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20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DF+ATV/r,c*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2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356407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V/FTC/TD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86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7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TC/TAF+ATV/r,c*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FF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529668"/>
                  </a:ext>
                </a:extLst>
              </a:tr>
              <a:tr h="204664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FV/3TC/TD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3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0577188"/>
                  </a:ext>
                </a:extLst>
              </a:tr>
              <a:tr h="233075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pt-BR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RV/c/r/FTC/TA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3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51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5784085"/>
                  </a:ext>
                </a:extLst>
              </a:tr>
              <a:tr h="213192">
                <a:tc>
                  <a:txBody>
                    <a:bodyPr/>
                    <a:lstStyle/>
                    <a:p>
                      <a:pPr marL="91440" algn="l" defTabSz="914400" rtl="0" eaLnBrk="1" fontAlgn="ctr" latinLnBrk="0" hangingPunct="1"/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R/3TC/TDF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>
                      <a:lvl1pPr marL="0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35335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70671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06006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41342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76677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612013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47348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82684" algn="l" defTabSz="870671" rtl="0" eaLnBrk="1" latinLnBrk="0" hangingPunct="1">
                        <a:defRPr sz="1722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06%</a:t>
                      </a: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553" marR="6553" marT="6553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251834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07DFEA72-68C5-4315-8E24-0771BB8C8D54}"/>
              </a:ext>
            </a:extLst>
          </p:cNvPr>
          <p:cNvSpPr txBox="1">
            <a:spLocks/>
          </p:cNvSpPr>
          <p:nvPr/>
        </p:nvSpPr>
        <p:spPr>
          <a:xfrm>
            <a:off x="482138" y="4242265"/>
            <a:ext cx="7898660" cy="6844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600" dirty="0">
                <a:solidFill>
                  <a:schemeClr val="tx1"/>
                </a:solidFill>
              </a:rPr>
              <a:t>ABC: Abacavir, ATV: Atazanavir, B: </a:t>
            </a:r>
            <a:r>
              <a:rPr lang="en-GB" sz="600" dirty="0" err="1">
                <a:solidFill>
                  <a:schemeClr val="tx1"/>
                </a:solidFill>
              </a:rPr>
              <a:t>Bictegravir</a:t>
            </a:r>
            <a:r>
              <a:rPr lang="en-GB" sz="600" dirty="0">
                <a:solidFill>
                  <a:schemeClr val="tx1"/>
                </a:solidFill>
              </a:rPr>
              <a:t>, COBI or /c: Cobicistat, DOR: </a:t>
            </a:r>
            <a:r>
              <a:rPr lang="en-GB" sz="600" dirty="0" err="1">
                <a:solidFill>
                  <a:schemeClr val="tx1"/>
                </a:solidFill>
              </a:rPr>
              <a:t>doravirine</a:t>
            </a:r>
            <a:r>
              <a:rPr lang="en-GB" sz="600" dirty="0">
                <a:solidFill>
                  <a:schemeClr val="tx1"/>
                </a:solidFill>
              </a:rPr>
              <a:t>, DRV: Darunavir, DTG: Dolutegravir, EFV: Efavirenz, EVG: Elvitegravir, F: Emtricitabine, FTC: Emtricitabine, MTR: multiple-tabled regimen, RAL: </a:t>
            </a:r>
            <a:r>
              <a:rPr lang="en-GB" sz="600" dirty="0" err="1">
                <a:solidFill>
                  <a:schemeClr val="tx1"/>
                </a:solidFill>
              </a:rPr>
              <a:t>Raltegravir</a:t>
            </a:r>
            <a:r>
              <a:rPr lang="en-GB" sz="600" dirty="0">
                <a:solidFill>
                  <a:schemeClr val="tx1"/>
                </a:solidFill>
              </a:rPr>
              <a:t>, RPV: </a:t>
            </a:r>
            <a:r>
              <a:rPr lang="en-GB" sz="600" dirty="0" err="1">
                <a:solidFill>
                  <a:schemeClr val="tx1"/>
                </a:solidFill>
              </a:rPr>
              <a:t>Rilpivirine</a:t>
            </a:r>
            <a:r>
              <a:rPr lang="en-GB" sz="600" dirty="0">
                <a:solidFill>
                  <a:schemeClr val="tx1"/>
                </a:solidFill>
              </a:rPr>
              <a:t>, r: Ritonavir, STR: single-tablet regimen, TAF: Tenofovir alafenamide fumarate, 3TC: Lamivudine, TDF: Tenofovir disoproxil fumarate </a:t>
            </a: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600" dirty="0">
                <a:solidFill>
                  <a:schemeClr val="tx1"/>
                </a:solidFill>
              </a:rPr>
              <a:t>Boosted with cobicistat or ritonavir.</a:t>
            </a: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endParaRPr lang="en-GB" sz="600" dirty="0">
              <a:solidFill>
                <a:schemeClr val="tx1"/>
              </a:solidFill>
            </a:endParaRPr>
          </a:p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600" dirty="0">
                <a:solidFill>
                  <a:schemeClr val="tx1"/>
                </a:solidFill>
              </a:rPr>
              <a:t>Patient distribution by DHHS-recommended Initial ART regimens</a:t>
            </a:r>
            <a:endParaRPr lang="en-GB" sz="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888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 vert="horz" lIns="0" tIns="0" rIns="0" bIns="0" rtlCol="0" anchor="b">
            <a:noAutofit/>
          </a:bodyPr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Results: Baseline Demographics and Clinical Characteristics (Table 2)</a:t>
            </a: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429C200D-952F-4DA3-ACFA-1369C2D3E2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9054120"/>
              </p:ext>
            </p:extLst>
          </p:nvPr>
        </p:nvGraphicFramePr>
        <p:xfrm>
          <a:off x="214312" y="1184167"/>
          <a:ext cx="8929688" cy="3560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8A1D04-BC00-4A14-BC88-730508CCA890}"/>
              </a:ext>
            </a:extLst>
          </p:cNvPr>
          <p:cNvSpPr txBox="1"/>
          <p:nvPr/>
        </p:nvSpPr>
        <p:spPr>
          <a:xfrm>
            <a:off x="327135" y="1225227"/>
            <a:ext cx="8489730" cy="25681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kern="1000" dirty="0"/>
              <a:t>We identified 44,764 (STRs=34,787; MTRs=9,977) Medicaid beneficiaries who newly initiated ART. 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kern="1000" dirty="0"/>
              <a:t>Sample average age was 44±12 years, was predominantly male (65%), and resided in the southern US (37%).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kern="1000" dirty="0"/>
              <a:t>In the 12-month pre-index period, the most used drug classes were respiratory drugs (6%), antibiotics (5%), antipsychotics (5%), and antihypertensives (5%).</a:t>
            </a:r>
          </a:p>
        </p:txBody>
      </p:sp>
    </p:spTree>
    <p:extLst>
      <p:ext uri="{BB962C8B-B14F-4D97-AF65-F5344CB8AC3E}">
        <p14:creationId xmlns:p14="http://schemas.microsoft.com/office/powerpoint/2010/main" val="132720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DB40-D52E-4BDC-9087-059906E6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138" y="349827"/>
            <a:ext cx="8204662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GB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Table 2: Baseline Demographics and Clinical Characterist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B2898D-2390-4EAF-97CB-6D62F4CF2728}"/>
              </a:ext>
            </a:extLst>
          </p:cNvPr>
          <p:cNvSpPr txBox="1"/>
          <p:nvPr/>
        </p:nvSpPr>
        <p:spPr>
          <a:xfrm rot="19010075">
            <a:off x="4958814" y="2718438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0" i="0" baseline="30000" noProof="0">
                <a:latin typeface="+mj-lt"/>
                <a:cs typeface="Arial"/>
              </a:rPr>
              <a:t>†</a:t>
            </a:r>
            <a:endParaRPr lang="en-GB" sz="1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9BF0C5-37F2-42B4-995B-1584DB400762}"/>
              </a:ext>
            </a:extLst>
          </p:cNvPr>
          <p:cNvSpPr txBox="1"/>
          <p:nvPr/>
        </p:nvSpPr>
        <p:spPr>
          <a:xfrm rot="19010075">
            <a:off x="7432933" y="2703093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="1" baseline="30000" noProof="0">
                <a:cs typeface="Arial"/>
              </a:rPr>
              <a:t>‡</a:t>
            </a:r>
            <a:endParaRPr lang="en-GB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7A66F2-A447-4A69-ACC3-158182B8078B}"/>
              </a:ext>
            </a:extLst>
          </p:cNvPr>
          <p:cNvSpPr txBox="1"/>
          <p:nvPr/>
        </p:nvSpPr>
        <p:spPr>
          <a:xfrm rot="19010075">
            <a:off x="7828219" y="2703092"/>
            <a:ext cx="156257" cy="8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600" baseline="30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§</a:t>
            </a:r>
            <a:endParaRPr lang="en-GB" sz="60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2613BC6-1798-4F5A-AB73-417518BA23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16867"/>
              </p:ext>
            </p:extLst>
          </p:nvPr>
        </p:nvGraphicFramePr>
        <p:xfrm>
          <a:off x="671511" y="1133583"/>
          <a:ext cx="8115042" cy="3381910"/>
        </p:xfrm>
        <a:graphic>
          <a:graphicData uri="http://schemas.openxmlformats.org/drawingml/2006/table">
            <a:tbl>
              <a:tblPr/>
              <a:tblGrid>
                <a:gridCol w="3184593">
                  <a:extLst>
                    <a:ext uri="{9D8B030D-6E8A-4147-A177-3AD203B41FA5}">
                      <a16:colId xmlns:a16="http://schemas.microsoft.com/office/drawing/2014/main" val="159261218"/>
                    </a:ext>
                  </a:extLst>
                </a:gridCol>
                <a:gridCol w="906039">
                  <a:extLst>
                    <a:ext uri="{9D8B030D-6E8A-4147-A177-3AD203B41FA5}">
                      <a16:colId xmlns:a16="http://schemas.microsoft.com/office/drawing/2014/main" val="3249058005"/>
                    </a:ext>
                  </a:extLst>
                </a:gridCol>
                <a:gridCol w="803934">
                  <a:extLst>
                    <a:ext uri="{9D8B030D-6E8A-4147-A177-3AD203B41FA5}">
                      <a16:colId xmlns:a16="http://schemas.microsoft.com/office/drawing/2014/main" val="3608315852"/>
                    </a:ext>
                  </a:extLst>
                </a:gridCol>
                <a:gridCol w="923980">
                  <a:extLst>
                    <a:ext uri="{9D8B030D-6E8A-4147-A177-3AD203B41FA5}">
                      <a16:colId xmlns:a16="http://schemas.microsoft.com/office/drawing/2014/main" val="3913628125"/>
                    </a:ext>
                  </a:extLst>
                </a:gridCol>
                <a:gridCol w="735596">
                  <a:extLst>
                    <a:ext uri="{9D8B030D-6E8A-4147-A177-3AD203B41FA5}">
                      <a16:colId xmlns:a16="http://schemas.microsoft.com/office/drawing/2014/main" val="1521461269"/>
                    </a:ext>
                  </a:extLst>
                </a:gridCol>
                <a:gridCol w="870156">
                  <a:extLst>
                    <a:ext uri="{9D8B030D-6E8A-4147-A177-3AD203B41FA5}">
                      <a16:colId xmlns:a16="http://schemas.microsoft.com/office/drawing/2014/main" val="4119749153"/>
                    </a:ext>
                  </a:extLst>
                </a:gridCol>
                <a:gridCol w="690744">
                  <a:extLst>
                    <a:ext uri="{9D8B030D-6E8A-4147-A177-3AD203B41FA5}">
                      <a16:colId xmlns:a16="http://schemas.microsoft.com/office/drawing/2014/main" val="3438646396"/>
                    </a:ext>
                  </a:extLst>
                </a:gridCol>
              </a:tblGrid>
              <a:tr h="14612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 Demographics and Clinical Characteristics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Total (N=44,764)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STR (N=34,787)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MTR (N=9,977)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072157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rtl="0" fontAlgn="b"/>
                      <a:r>
                        <a:rPr lang="en-US" sz="6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ge, mean (SD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3.5 (12.4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3.7 (12.3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2.6 (12.8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394327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-34 years 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,031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,82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206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966188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5-49 years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,61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,48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13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63899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0-64 years 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6,37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,88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49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655726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≥65 years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41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9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131552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Gender (n,%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884617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0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ale 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9,16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3,25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90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856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emale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,60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,52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7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2966954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US Geographic </a:t>
                      </a:r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 (n, %)</a:t>
                      </a:r>
                      <a:endParaRPr lang="en-US" sz="6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319830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ortheast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0,95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,62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330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77515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orth Central 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,18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65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3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783168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outh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6,74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,060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68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8058995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West 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,91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,81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10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222256"/>
                  </a:ext>
                </a:extLst>
              </a:tr>
              <a:tr h="106877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ther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5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3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2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258049"/>
                  </a:ext>
                </a:extLst>
              </a:tr>
              <a:tr h="11493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re-index medication use (n, %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8627289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tihypertensive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20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70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96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89818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tidiabetic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980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0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71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95963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ticoagulant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319347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ipid-lowering therapy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3646715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tibiotic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02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2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9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124211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espiratory drug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583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92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5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579316"/>
                  </a:ext>
                </a:extLst>
              </a:tr>
              <a:tr h="106877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tipsychotics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111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467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4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408383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umber of unique medications on index </a:t>
                      </a:r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e (n, %)</a:t>
                      </a:r>
                      <a:endParaRPr lang="en-US" sz="6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152640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atients with only ART on the index date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,880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1,85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,021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275848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64008" lvl="1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atients with ≥1 non-ART on the index date</a:t>
                      </a:r>
                    </a:p>
                  </a:txBody>
                  <a:tcPr marL="5219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0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269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35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643190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ost-index observation days, mean (SD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66.6 (338.8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57.9 (341.8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96.8 (326.5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791561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uan-Charlson Comorbidity Index (CCI) Score, mean (SD) 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.4 (2.3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.4 (2.3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.4 (2.4)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267106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18288" algn="l" defTabSz="914400" rtl="0" eaLnBrk="1" fontAlgn="b" latinLnBrk="0" hangingPunct="1"/>
                      <a:r>
                        <a:rPr lang="en-US" sz="6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aseline Individual Clinical Comorbidities (n, %)*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endParaRPr lang="en-US" sz="6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1179319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entral Nervous System Toxicity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1,650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,794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,856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875396"/>
                  </a:ext>
                </a:extLst>
              </a:tr>
              <a:tr h="10437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ipid Disorders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39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382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6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016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84985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Hypertension</a:t>
                      </a:r>
                    </a:p>
                  </a:txBody>
                  <a:tcPr marL="62625" marR="5219" marT="521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,476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,47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998</a:t>
                      </a:r>
                    </a:p>
                  </a:txBody>
                  <a:tcPr marL="5219" marR="5219" marT="5219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851427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99055545-D40D-49F3-977E-62EA6DA2BBB4}"/>
              </a:ext>
            </a:extLst>
          </p:cNvPr>
          <p:cNvSpPr txBox="1">
            <a:spLocks/>
          </p:cNvSpPr>
          <p:nvPr/>
        </p:nvSpPr>
        <p:spPr>
          <a:xfrm>
            <a:off x="671512" y="4649035"/>
            <a:ext cx="4822088" cy="2912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300"/>
              </a:spcAft>
              <a:buClr>
                <a:srgbClr val="A21C49"/>
              </a:buClr>
            </a:pPr>
            <a:r>
              <a:rPr lang="en-GB" sz="600" dirty="0">
                <a:solidFill>
                  <a:schemeClr val="tx1"/>
                </a:solidFill>
              </a:rPr>
              <a:t>ART: antiretroviral treatment, MTR: multiple-tablet regimen, STR: single-tablet regimen, SD: standard deviation, US: United States</a:t>
            </a:r>
          </a:p>
          <a:p>
            <a:pPr>
              <a:lnSpc>
                <a:spcPct val="100000"/>
              </a:lnSpc>
              <a:spcAft>
                <a:spcPts val="300"/>
              </a:spcAft>
              <a:buClr>
                <a:srgbClr val="A21C49"/>
              </a:buClr>
            </a:pPr>
            <a:r>
              <a:rPr lang="en-GB" sz="600" dirty="0">
                <a:solidFill>
                  <a:schemeClr val="tx1"/>
                </a:solidFill>
              </a:rPr>
              <a:t>* Presented top 3 baseline individual comorbidities prevalent in at least 10% of patients on ART</a:t>
            </a:r>
          </a:p>
          <a:p>
            <a:pPr indent="-171450">
              <a:lnSpc>
                <a:spcPct val="100000"/>
              </a:lnSpc>
              <a:spcAft>
                <a:spcPts val="30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GB" sz="600" dirty="0">
              <a:solidFill>
                <a:schemeClr val="tx1"/>
              </a:solidFill>
            </a:endParaRPr>
          </a:p>
          <a:p>
            <a:pPr indent="-171450">
              <a:lnSpc>
                <a:spcPct val="100000"/>
              </a:lnSpc>
              <a:spcAft>
                <a:spcPts val="30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96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288F2-2B01-41C1-B7EA-9D9E8B86C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0585"/>
            <a:ext cx="8229600" cy="507423"/>
          </a:xfrm>
        </p:spPr>
        <p:txBody>
          <a:bodyPr/>
          <a:lstStyle/>
          <a:p>
            <a:pPr>
              <a:lnSpc>
                <a:spcPct val="80000"/>
              </a:lnSpc>
              <a:spcAft>
                <a:spcPts val="269"/>
              </a:spcAft>
              <a:buClr>
                <a:srgbClr val="A21C49"/>
              </a:buClr>
            </a:pPr>
            <a:r>
              <a:rPr lang="en-US" sz="2800" b="1" dirty="0">
                <a:solidFill>
                  <a:schemeClr val="accent1"/>
                </a:solidFill>
                <a:latin typeface="Trebuchet MS" panose="020B0703020202090204" pitchFamily="34" charset="0"/>
              </a:rPr>
              <a:t>Results: </a:t>
            </a:r>
            <a:r>
              <a:rPr lang="en-US" sz="2800" b="1" i="1" dirty="0">
                <a:solidFill>
                  <a:schemeClr val="accent1"/>
                </a:solidFill>
                <a:latin typeface="Trebuchet MS" panose="020B0703020202090204" pitchFamily="34" charset="0"/>
              </a:rPr>
              <a:t>Persistent Outco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128254-C2A6-4B1B-82DD-11B823F9E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BD5F9E-BC76-487B-A2BC-019AD28A14BF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24BD05-C304-4919-A73B-A47E07C1BB6A}"/>
              </a:ext>
            </a:extLst>
          </p:cNvPr>
          <p:cNvSpPr txBox="1">
            <a:spLocks/>
          </p:cNvSpPr>
          <p:nvPr/>
        </p:nvSpPr>
        <p:spPr>
          <a:xfrm>
            <a:off x="4994477" y="1144800"/>
            <a:ext cx="3961176" cy="3486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>
                  <a:lumMod val="75000"/>
                </a:schemeClr>
              </a:buClr>
              <a:buSzPct val="90000"/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endParaRPr lang="en-GB" sz="105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C31724-07F7-44D5-9E1B-65C516E4C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3486150"/>
          </a:xfrm>
        </p:spPr>
        <p:txBody>
          <a:bodyPr/>
          <a:lstStyle/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kern="1000" dirty="0"/>
              <a:t>At 6 months, 62% of patients on STRs were persistent, compared to 41% for MTRs (Table 3)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r>
              <a:rPr lang="en-US" kern="1000" dirty="0"/>
              <a:t>Among all patients, persistence was highest with B/F/TAF 68% at 6 months;  44% at 12 months </a:t>
            </a:r>
          </a:p>
          <a:p>
            <a:pPr marL="457200" indent="-45720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Font typeface="Arial" panose="020B0604020202020204" pitchFamily="34" charset="0"/>
              <a:buChar char="•"/>
            </a:pPr>
            <a:endParaRPr lang="en-US" kern="1000" dirty="0"/>
          </a:p>
          <a:p>
            <a:pPr marL="0" indent="0">
              <a:lnSpc>
                <a:spcPct val="120000"/>
              </a:lnSpc>
              <a:spcBef>
                <a:spcPts val="269"/>
              </a:spcBef>
              <a:spcAft>
                <a:spcPts val="350"/>
              </a:spcAft>
              <a:buClr>
                <a:srgbClr val="A21C49"/>
              </a:buClr>
              <a:buNone/>
            </a:pPr>
            <a:endParaRPr lang="en-US" kern="10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588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ilead HIV TemplateV6">
  <a:themeElements>
    <a:clrScheme name="HIV">
      <a:dk1>
        <a:sysClr val="windowText" lastClr="000000"/>
      </a:dk1>
      <a:lt1>
        <a:sysClr val="window" lastClr="FFFFFF"/>
      </a:lt1>
      <a:dk2>
        <a:srgbClr val="CC0000"/>
      </a:dk2>
      <a:lt2>
        <a:srgbClr val="E2E2E2"/>
      </a:lt2>
      <a:accent1>
        <a:srgbClr val="CC0000"/>
      </a:accent1>
      <a:accent2>
        <a:srgbClr val="717074"/>
      </a:accent2>
      <a:accent3>
        <a:srgbClr val="0CB5EA"/>
      </a:accent3>
      <a:accent4>
        <a:srgbClr val="FBB040"/>
      </a:accent4>
      <a:accent5>
        <a:srgbClr val="6338A2"/>
      </a:accent5>
      <a:accent6>
        <a:srgbClr val="F66900"/>
      </a:accent6>
      <a:hlink>
        <a:srgbClr val="0972C9"/>
      </a:hlink>
      <a:folHlink>
        <a:srgbClr val="BFBFB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>
              <a:lumMod val="50000"/>
            </a:schemeClr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R127 G127 B127">
      <a:srgbClr val="7F7F7F"/>
    </a:custClr>
    <a:custClr name="R0 G196 B42">
      <a:srgbClr val="00C42A"/>
    </a:custClr>
    <a:custClr name="R0 G22 B66">
      <a:srgbClr val="002774"/>
    </a:custClr>
    <a:custClr name="R41 G96 B4">
      <a:srgbClr val="296004"/>
    </a:custClr>
    <a:custClr name="R0 G192 B60">
      <a:srgbClr val="00C0A0"/>
    </a:custClr>
    <a:custClr name="R202 G32 B85">
      <a:srgbClr val="C23C82"/>
    </a:custClr>
    <a:custClr name="R9 G114 B201">
      <a:srgbClr val="0972C9"/>
    </a:custClr>
    <a:custClr name="R6 G158 B35">
      <a:srgbClr val="069E23"/>
    </a:custClr>
    <a:custClr name="R160 G50 B250">
      <a:srgbClr val="A032FA"/>
    </a:custClr>
  </a:custClrLst>
  <a:extLst>
    <a:ext uri="{05A4C25C-085E-4340-85A3-A5531E510DB2}">
      <thm15:themeFamily xmlns:thm15="http://schemas.microsoft.com/office/thememl/2012/main" name="Gilead HIV TemplateV6.potx" id="{88B0C9EA-49A4-4B8F-80AC-673A8C15F9AB}" vid="{1220EA46-7CB4-4D13-8E8B-CCBD94359894}"/>
    </a:ext>
  </a:extLst>
</a:theme>
</file>

<file path=ppt/theme/theme2.xml><?xml version="1.0" encoding="utf-8"?>
<a:theme xmlns:a="http://schemas.openxmlformats.org/drawingml/2006/main" name="Office Theme">
  <a:themeElements>
    <a:clrScheme name="Gilead HIV">
      <a:dk1>
        <a:sysClr val="windowText" lastClr="000000"/>
      </a:dk1>
      <a:lt1>
        <a:sysClr val="window" lastClr="FFFFFF"/>
      </a:lt1>
      <a:dk2>
        <a:srgbClr val="CC0000"/>
      </a:dk2>
      <a:lt2>
        <a:srgbClr val="E2E2E2"/>
      </a:lt2>
      <a:accent1>
        <a:srgbClr val="CC0000"/>
      </a:accent1>
      <a:accent2>
        <a:srgbClr val="717074"/>
      </a:accent2>
      <a:accent3>
        <a:srgbClr val="0CB5EA"/>
      </a:accent3>
      <a:accent4>
        <a:srgbClr val="FBB040"/>
      </a:accent4>
      <a:accent5>
        <a:srgbClr val="6338A2"/>
      </a:accent5>
      <a:accent6>
        <a:srgbClr val="F66900"/>
      </a:accent6>
      <a:hlink>
        <a:srgbClr val="0972C9"/>
      </a:hlink>
      <a:folHlink>
        <a:srgbClr val="9696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R127 G127 B127">
      <a:srgbClr val="7F7F7F"/>
    </a:custClr>
    <a:custClr name="R0 G196 B42">
      <a:srgbClr val="00C42A"/>
    </a:custClr>
    <a:custClr name="R0 G22 B66">
      <a:srgbClr val="002774"/>
    </a:custClr>
    <a:custClr name="R41 G96 B4">
      <a:srgbClr val="296004"/>
    </a:custClr>
    <a:custClr name="R0 G192 B60">
      <a:srgbClr val="00C0A0"/>
    </a:custClr>
    <a:custClr name="R202 G32 B85">
      <a:srgbClr val="C23C82"/>
    </a:custClr>
    <a:custClr name="R9 G114 B201">
      <a:srgbClr val="0972C9"/>
    </a:custClr>
    <a:custClr name="R6 G158 B35">
      <a:srgbClr val="069E23"/>
    </a:custClr>
    <a:custClr name="R160 G50 B250">
      <a:srgbClr val="A032FA"/>
    </a:custClr>
  </a:custClrLst>
</a:theme>
</file>

<file path=ppt/theme/theme3.xml><?xml version="1.0" encoding="utf-8"?>
<a:theme xmlns:a="http://schemas.openxmlformats.org/drawingml/2006/main" name="Office Theme">
  <a:themeElements>
    <a:clrScheme name="Gilead HIV">
      <a:dk1>
        <a:sysClr val="windowText" lastClr="000000"/>
      </a:dk1>
      <a:lt1>
        <a:sysClr val="window" lastClr="FFFFFF"/>
      </a:lt1>
      <a:dk2>
        <a:srgbClr val="CC0000"/>
      </a:dk2>
      <a:lt2>
        <a:srgbClr val="E2E2E2"/>
      </a:lt2>
      <a:accent1>
        <a:srgbClr val="CC0000"/>
      </a:accent1>
      <a:accent2>
        <a:srgbClr val="717074"/>
      </a:accent2>
      <a:accent3>
        <a:srgbClr val="0CB5EA"/>
      </a:accent3>
      <a:accent4>
        <a:srgbClr val="FBB040"/>
      </a:accent4>
      <a:accent5>
        <a:srgbClr val="6338A2"/>
      </a:accent5>
      <a:accent6>
        <a:srgbClr val="F66900"/>
      </a:accent6>
      <a:hlink>
        <a:srgbClr val="0972C9"/>
      </a:hlink>
      <a:folHlink>
        <a:srgbClr val="9696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R127 G127 B127">
      <a:srgbClr val="7F7F7F"/>
    </a:custClr>
    <a:custClr name="R0 G196 B42">
      <a:srgbClr val="00C42A"/>
    </a:custClr>
    <a:custClr name="R0 G22 B66">
      <a:srgbClr val="002774"/>
    </a:custClr>
    <a:custClr name="R41 G96 B4">
      <a:srgbClr val="296004"/>
    </a:custClr>
    <a:custClr name="R0 G192 B60">
      <a:srgbClr val="00C0A0"/>
    </a:custClr>
    <a:custClr name="R202 G32 B85">
      <a:srgbClr val="C23C82"/>
    </a:custClr>
    <a:custClr name="R9 G114 B201">
      <a:srgbClr val="0972C9"/>
    </a:custClr>
    <a:custClr name="R6 G158 B35">
      <a:srgbClr val="069E23"/>
    </a:custClr>
    <a:custClr name="R160 G50 B250">
      <a:srgbClr val="A032FA"/>
    </a:custClr>
  </a:custClrLst>
</a:theme>
</file>

<file path=ppt/theme/themeOverride1.xml><?xml version="1.0" encoding="utf-8"?>
<a:themeOverride xmlns:a="http://schemas.openxmlformats.org/drawingml/2006/main">
  <a:clrScheme name="HIV">
    <a:dk1>
      <a:sysClr val="windowText" lastClr="000000"/>
    </a:dk1>
    <a:lt1>
      <a:sysClr val="window" lastClr="FFFFFF"/>
    </a:lt1>
    <a:dk2>
      <a:srgbClr val="CC0000"/>
    </a:dk2>
    <a:lt2>
      <a:srgbClr val="E2E2E2"/>
    </a:lt2>
    <a:accent1>
      <a:srgbClr val="CC0000"/>
    </a:accent1>
    <a:accent2>
      <a:srgbClr val="717074"/>
    </a:accent2>
    <a:accent3>
      <a:srgbClr val="0CB5EA"/>
    </a:accent3>
    <a:accent4>
      <a:srgbClr val="FBB040"/>
    </a:accent4>
    <a:accent5>
      <a:srgbClr val="6338A2"/>
    </a:accent5>
    <a:accent6>
      <a:srgbClr val="F66900"/>
    </a:accent6>
    <a:hlink>
      <a:srgbClr val="0972C9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A49BA8F3CCDC438916267D49B782DB" ma:contentTypeVersion="10" ma:contentTypeDescription="Create a new document." ma:contentTypeScope="" ma:versionID="323f5c168f22e0ca682794e0dec2af19">
  <xsd:schema xmlns:xsd="http://www.w3.org/2001/XMLSchema" xmlns:xs="http://www.w3.org/2001/XMLSchema" xmlns:p="http://schemas.microsoft.com/office/2006/metadata/properties" xmlns:ns2="e5961b49-cc90-4290-9de7-4156daece605" xmlns:ns3="f9f27ec7-d3f2-4b31-a235-b7a6c36ebb1b" targetNamespace="http://schemas.microsoft.com/office/2006/metadata/properties" ma:root="true" ma:fieldsID="e0c7dc8a927a6e2113c4d2d94099537c" ns2:_="" ns3:_="">
    <xsd:import namespace="e5961b49-cc90-4290-9de7-4156daece605"/>
    <xsd:import namespace="f9f27ec7-d3f2-4b31-a235-b7a6c36ebb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961b49-cc90-4290-9de7-4156daece6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f27ec7-d3f2-4b31-a235-b7a6c36ebb1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221A7D-F404-49F9-8BD8-2856DB0A8A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54FD465-DDBC-420D-8F89-002E888FE46F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e5961b49-cc90-4290-9de7-4156daece605"/>
    <ds:schemaRef ds:uri="http://www.w3.org/XML/1998/namespace"/>
    <ds:schemaRef ds:uri="f9f27ec7-d3f2-4b31-a235-b7a6c36ebb1b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C4CBE4D-11FE-4166-8131-CE135A1D64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961b49-cc90-4290-9de7-4156daece605"/>
    <ds:schemaRef ds:uri="f9f27ec7-d3f2-4b31-a235-b7a6c36ebb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76</TotalTime>
  <Words>2259</Words>
  <Application>Microsoft Office PowerPoint</Application>
  <PresentationFormat>On-screen Show (16:9)</PresentationFormat>
  <Paragraphs>459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Arial Narrow</vt:lpstr>
      <vt:lpstr>Calibri</vt:lpstr>
      <vt:lpstr>Trebuchet MS</vt:lpstr>
      <vt:lpstr>Wingdings</vt:lpstr>
      <vt:lpstr>Gilead HIV TemplateV6</vt:lpstr>
      <vt:lpstr>think-cell Slide</vt:lpstr>
      <vt:lpstr>Persistence on Guideline-Recommended HIV Treatment: Comparison Among US Medicaid Beneficiaries Newly Initiating Treatment with Single- versus Multiple-Tablet Regimens</vt:lpstr>
      <vt:lpstr>Introduction</vt:lpstr>
      <vt:lpstr>Objective </vt:lpstr>
      <vt:lpstr>Methods </vt:lpstr>
      <vt:lpstr>Figure 1: Sample Selection</vt:lpstr>
      <vt:lpstr>PowerPoint Presentation</vt:lpstr>
      <vt:lpstr>Results: Baseline Demographics and Clinical Characteristics (Table 2)</vt:lpstr>
      <vt:lpstr>Table 2: Baseline Demographics and Clinical Characteristics</vt:lpstr>
      <vt:lpstr>Results: Persistent Outcomes</vt:lpstr>
      <vt:lpstr>Table 3: Mean and Median Persistence by Treatment Regimen</vt:lpstr>
      <vt:lpstr>Results: Persistent Outcomes</vt:lpstr>
      <vt:lpstr>Figure 2: Persistence STR vs MTR</vt:lpstr>
      <vt:lpstr>Figure 3: Treatment Persistence Among Regimens</vt:lpstr>
      <vt:lpstr>Results: Persistence  Outcomes</vt:lpstr>
      <vt:lpstr>Figure 4: Adjusted Hazard Ratio for Treatment Discontinuation </vt:lpstr>
      <vt:lpstr>Limitations</vt:lpstr>
      <vt:lpstr>Conclusion</vt:lpstr>
      <vt:lpstr>References</vt:lpstr>
      <vt:lpstr>Disclosures</vt:lpstr>
    </vt:vector>
  </TitlesOfParts>
  <Company>Gilead Scienc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BICSTaR prospective cohort:  Real-world effectiveness, safety and tolerability of bictegravir/emtricitabine/tenofovir alafenamide (B/F/TAF) in routine clinical practice in people living with HIV (PLWH)</dc:title>
  <dc:creator>David Thorpe</dc:creator>
  <cp:lastModifiedBy>Marvin Rock</cp:lastModifiedBy>
  <cp:revision>255</cp:revision>
  <cp:lastPrinted>2021-09-23T12:24:51Z</cp:lastPrinted>
  <dcterms:created xsi:type="dcterms:W3CDTF">2020-04-30T09:34:35Z</dcterms:created>
  <dcterms:modified xsi:type="dcterms:W3CDTF">2021-10-15T00:4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A49BA8F3CCDC438916267D49B782DB</vt:lpwstr>
  </property>
</Properties>
</file>